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3" r:id="rId1"/>
    <p:sldMasterId id="2147483855" r:id="rId2"/>
  </p:sldMasterIdLst>
  <p:notesMasterIdLst>
    <p:notesMasterId r:id="rId19"/>
  </p:notesMasterIdLst>
  <p:sldIdLst>
    <p:sldId id="256" r:id="rId3"/>
    <p:sldId id="300" r:id="rId4"/>
    <p:sldId id="2147479255" r:id="rId5"/>
    <p:sldId id="265" r:id="rId6"/>
    <p:sldId id="2147479266" r:id="rId7"/>
    <p:sldId id="2147479267" r:id="rId8"/>
    <p:sldId id="2147479268" r:id="rId9"/>
    <p:sldId id="2147479269" r:id="rId10"/>
    <p:sldId id="2147479270" r:id="rId11"/>
    <p:sldId id="2147479271" r:id="rId12"/>
    <p:sldId id="2147479263" r:id="rId13"/>
    <p:sldId id="2147479002" r:id="rId14"/>
    <p:sldId id="2147479272" r:id="rId15"/>
    <p:sldId id="2147479273" r:id="rId16"/>
    <p:sldId id="2147479274" r:id="rId17"/>
    <p:sldId id="2147479275" r:id="rId18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CEF3C5D-69D5-4F75-9CE0-A0BC835A8907}" v="3" dt="2025-03-26T14:12:15.38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51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microsoft.com/office/2016/11/relationships/changesInfo" Target="changesInfos/changesInfo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ne Seignole" userId="cfdabe7f-1360-481b-9103-1714d28c5ba8" providerId="ADAL" clId="{ACEF3C5D-69D5-4F75-9CE0-A0BC835A8907}"/>
    <pc:docChg chg="custSel addSld delSld modSld delMainMaster">
      <pc:chgData name="Marine Seignole" userId="cfdabe7f-1360-481b-9103-1714d28c5ba8" providerId="ADAL" clId="{ACEF3C5D-69D5-4F75-9CE0-A0BC835A8907}" dt="2025-03-31T09:37:35.469" v="455" actId="2696"/>
      <pc:docMkLst>
        <pc:docMk/>
      </pc:docMkLst>
      <pc:sldChg chg="del">
        <pc:chgData name="Marine Seignole" userId="cfdabe7f-1360-481b-9103-1714d28c5ba8" providerId="ADAL" clId="{ACEF3C5D-69D5-4F75-9CE0-A0BC835A8907}" dt="2025-03-26T13:30:01.288" v="1" actId="47"/>
        <pc:sldMkLst>
          <pc:docMk/>
          <pc:sldMk cId="1054270904" sldId="259"/>
        </pc:sldMkLst>
      </pc:sldChg>
      <pc:sldChg chg="del">
        <pc:chgData name="Marine Seignole" userId="cfdabe7f-1360-481b-9103-1714d28c5ba8" providerId="ADAL" clId="{ACEF3C5D-69D5-4F75-9CE0-A0BC835A8907}" dt="2025-03-26T13:29:54.683" v="0" actId="47"/>
        <pc:sldMkLst>
          <pc:docMk/>
          <pc:sldMk cId="3535920863" sldId="260"/>
        </pc:sldMkLst>
      </pc:sldChg>
      <pc:sldChg chg="del">
        <pc:chgData name="Marine Seignole" userId="cfdabe7f-1360-481b-9103-1714d28c5ba8" providerId="ADAL" clId="{ACEF3C5D-69D5-4F75-9CE0-A0BC835A8907}" dt="2025-03-26T13:30:02.633" v="2" actId="47"/>
        <pc:sldMkLst>
          <pc:docMk/>
          <pc:sldMk cId="4228857071" sldId="261"/>
        </pc:sldMkLst>
      </pc:sldChg>
      <pc:sldChg chg="del">
        <pc:chgData name="Marine Seignole" userId="cfdabe7f-1360-481b-9103-1714d28c5ba8" providerId="ADAL" clId="{ACEF3C5D-69D5-4F75-9CE0-A0BC835A8907}" dt="2025-03-26T13:30:07.036" v="5" actId="47"/>
        <pc:sldMkLst>
          <pc:docMk/>
          <pc:sldMk cId="1109559511" sldId="264"/>
        </pc:sldMkLst>
      </pc:sldChg>
      <pc:sldChg chg="del">
        <pc:chgData name="Marine Seignole" userId="cfdabe7f-1360-481b-9103-1714d28c5ba8" providerId="ADAL" clId="{ACEF3C5D-69D5-4F75-9CE0-A0BC835A8907}" dt="2025-03-26T13:30:04.106" v="3" actId="47"/>
        <pc:sldMkLst>
          <pc:docMk/>
          <pc:sldMk cId="2440048496" sldId="269"/>
        </pc:sldMkLst>
      </pc:sldChg>
      <pc:sldChg chg="del">
        <pc:chgData name="Marine Seignole" userId="cfdabe7f-1360-481b-9103-1714d28c5ba8" providerId="ADAL" clId="{ACEF3C5D-69D5-4F75-9CE0-A0BC835A8907}" dt="2025-03-26T13:31:11.528" v="21" actId="47"/>
        <pc:sldMkLst>
          <pc:docMk/>
          <pc:sldMk cId="1277852399" sldId="275"/>
        </pc:sldMkLst>
      </pc:sldChg>
      <pc:sldChg chg="del">
        <pc:chgData name="Marine Seignole" userId="cfdabe7f-1360-481b-9103-1714d28c5ba8" providerId="ADAL" clId="{ACEF3C5D-69D5-4F75-9CE0-A0BC835A8907}" dt="2025-03-26T13:31:08.049" v="20" actId="47"/>
        <pc:sldMkLst>
          <pc:docMk/>
          <pc:sldMk cId="3678811831" sldId="276"/>
        </pc:sldMkLst>
      </pc:sldChg>
      <pc:sldChg chg="del">
        <pc:chgData name="Marine Seignole" userId="cfdabe7f-1360-481b-9103-1714d28c5ba8" providerId="ADAL" clId="{ACEF3C5D-69D5-4F75-9CE0-A0BC835A8907}" dt="2025-03-26T13:30:05.619" v="4" actId="47"/>
        <pc:sldMkLst>
          <pc:docMk/>
          <pc:sldMk cId="1179586931" sldId="287"/>
        </pc:sldMkLst>
      </pc:sldChg>
      <pc:sldChg chg="del">
        <pc:chgData name="Marine Seignole" userId="cfdabe7f-1360-481b-9103-1714d28c5ba8" providerId="ADAL" clId="{ACEF3C5D-69D5-4F75-9CE0-A0BC835A8907}" dt="2025-03-26T13:30:39.215" v="17" actId="47"/>
        <pc:sldMkLst>
          <pc:docMk/>
          <pc:sldMk cId="2037866501" sldId="290"/>
        </pc:sldMkLst>
      </pc:sldChg>
      <pc:sldChg chg="del">
        <pc:chgData name="Marine Seignole" userId="cfdabe7f-1360-481b-9103-1714d28c5ba8" providerId="ADAL" clId="{ACEF3C5D-69D5-4F75-9CE0-A0BC835A8907}" dt="2025-03-26T13:31:03.003" v="19" actId="47"/>
        <pc:sldMkLst>
          <pc:docMk/>
          <pc:sldMk cId="244922404" sldId="321"/>
        </pc:sldMkLst>
      </pc:sldChg>
      <pc:sldChg chg="del">
        <pc:chgData name="Marine Seignole" userId="cfdabe7f-1360-481b-9103-1714d28c5ba8" providerId="ADAL" clId="{ACEF3C5D-69D5-4F75-9CE0-A0BC835A8907}" dt="2025-03-26T13:30:36.528" v="16" actId="47"/>
        <pc:sldMkLst>
          <pc:docMk/>
          <pc:sldMk cId="0" sldId="354"/>
        </pc:sldMkLst>
      </pc:sldChg>
      <pc:sldChg chg="del">
        <pc:chgData name="Marine Seignole" userId="cfdabe7f-1360-481b-9103-1714d28c5ba8" providerId="ADAL" clId="{ACEF3C5D-69D5-4F75-9CE0-A0BC835A8907}" dt="2025-03-26T13:30:24.084" v="7" actId="47"/>
        <pc:sldMkLst>
          <pc:docMk/>
          <pc:sldMk cId="3092242573" sldId="2147376053"/>
        </pc:sldMkLst>
      </pc:sldChg>
      <pc:sldChg chg="del">
        <pc:chgData name="Marine Seignole" userId="cfdabe7f-1360-481b-9103-1714d28c5ba8" providerId="ADAL" clId="{ACEF3C5D-69D5-4F75-9CE0-A0BC835A8907}" dt="2025-03-26T13:30:18.663" v="6" actId="47"/>
        <pc:sldMkLst>
          <pc:docMk/>
          <pc:sldMk cId="959816375" sldId="2147376079"/>
        </pc:sldMkLst>
      </pc:sldChg>
      <pc:sldChg chg="del">
        <pc:chgData name="Marine Seignole" userId="cfdabe7f-1360-481b-9103-1714d28c5ba8" providerId="ADAL" clId="{ACEF3C5D-69D5-4F75-9CE0-A0BC835A8907}" dt="2025-03-26T13:31:03.003" v="19" actId="47"/>
        <pc:sldMkLst>
          <pc:docMk/>
          <pc:sldMk cId="1437283449" sldId="2147474733"/>
        </pc:sldMkLst>
      </pc:sldChg>
      <pc:sldChg chg="del">
        <pc:chgData name="Marine Seignole" userId="cfdabe7f-1360-481b-9103-1714d28c5ba8" providerId="ADAL" clId="{ACEF3C5D-69D5-4F75-9CE0-A0BC835A8907}" dt="2025-03-26T13:31:03.003" v="19" actId="47"/>
        <pc:sldMkLst>
          <pc:docMk/>
          <pc:sldMk cId="888628194" sldId="2147474735"/>
        </pc:sldMkLst>
      </pc:sldChg>
      <pc:sldChg chg="del">
        <pc:chgData name="Marine Seignole" userId="cfdabe7f-1360-481b-9103-1714d28c5ba8" providerId="ADAL" clId="{ACEF3C5D-69D5-4F75-9CE0-A0BC835A8907}" dt="2025-03-26T13:31:03.003" v="19" actId="47"/>
        <pc:sldMkLst>
          <pc:docMk/>
          <pc:sldMk cId="3272713659" sldId="2147474736"/>
        </pc:sldMkLst>
      </pc:sldChg>
      <pc:sldChg chg="del">
        <pc:chgData name="Marine Seignole" userId="cfdabe7f-1360-481b-9103-1714d28c5ba8" providerId="ADAL" clId="{ACEF3C5D-69D5-4F75-9CE0-A0BC835A8907}" dt="2025-03-26T13:31:03.003" v="19" actId="47"/>
        <pc:sldMkLst>
          <pc:docMk/>
          <pc:sldMk cId="808185296" sldId="2147474740"/>
        </pc:sldMkLst>
      </pc:sldChg>
      <pc:sldChg chg="del">
        <pc:chgData name="Marine Seignole" userId="cfdabe7f-1360-481b-9103-1714d28c5ba8" providerId="ADAL" clId="{ACEF3C5D-69D5-4F75-9CE0-A0BC835A8907}" dt="2025-03-26T13:31:03.003" v="19" actId="47"/>
        <pc:sldMkLst>
          <pc:docMk/>
          <pc:sldMk cId="2838204752" sldId="2147474752"/>
        </pc:sldMkLst>
      </pc:sldChg>
      <pc:sldChg chg="del">
        <pc:chgData name="Marine Seignole" userId="cfdabe7f-1360-481b-9103-1714d28c5ba8" providerId="ADAL" clId="{ACEF3C5D-69D5-4F75-9CE0-A0BC835A8907}" dt="2025-03-26T13:31:03.003" v="19" actId="47"/>
        <pc:sldMkLst>
          <pc:docMk/>
          <pc:sldMk cId="1521282070" sldId="2147474753"/>
        </pc:sldMkLst>
      </pc:sldChg>
      <pc:sldChg chg="del">
        <pc:chgData name="Marine Seignole" userId="cfdabe7f-1360-481b-9103-1714d28c5ba8" providerId="ADAL" clId="{ACEF3C5D-69D5-4F75-9CE0-A0BC835A8907}" dt="2025-03-26T13:31:03.003" v="19" actId="47"/>
        <pc:sldMkLst>
          <pc:docMk/>
          <pc:sldMk cId="3997575321" sldId="2147474763"/>
        </pc:sldMkLst>
      </pc:sldChg>
      <pc:sldChg chg="del">
        <pc:chgData name="Marine Seignole" userId="cfdabe7f-1360-481b-9103-1714d28c5ba8" providerId="ADAL" clId="{ACEF3C5D-69D5-4F75-9CE0-A0BC835A8907}" dt="2025-03-26T13:31:03.003" v="19" actId="47"/>
        <pc:sldMkLst>
          <pc:docMk/>
          <pc:sldMk cId="3400754080" sldId="2147474765"/>
        </pc:sldMkLst>
      </pc:sldChg>
      <pc:sldChg chg="del">
        <pc:chgData name="Marine Seignole" userId="cfdabe7f-1360-481b-9103-1714d28c5ba8" providerId="ADAL" clId="{ACEF3C5D-69D5-4F75-9CE0-A0BC835A8907}" dt="2025-03-26T13:31:03.003" v="19" actId="47"/>
        <pc:sldMkLst>
          <pc:docMk/>
          <pc:sldMk cId="3963091623" sldId="2147474777"/>
        </pc:sldMkLst>
      </pc:sldChg>
      <pc:sldChg chg="del">
        <pc:chgData name="Marine Seignole" userId="cfdabe7f-1360-481b-9103-1714d28c5ba8" providerId="ADAL" clId="{ACEF3C5D-69D5-4F75-9CE0-A0BC835A8907}" dt="2025-03-26T13:31:03.003" v="19" actId="47"/>
        <pc:sldMkLst>
          <pc:docMk/>
          <pc:sldMk cId="3633903670" sldId="2147474784"/>
        </pc:sldMkLst>
      </pc:sldChg>
      <pc:sldChg chg="del">
        <pc:chgData name="Marine Seignole" userId="cfdabe7f-1360-481b-9103-1714d28c5ba8" providerId="ADAL" clId="{ACEF3C5D-69D5-4F75-9CE0-A0BC835A8907}" dt="2025-03-26T13:31:03.003" v="19" actId="47"/>
        <pc:sldMkLst>
          <pc:docMk/>
          <pc:sldMk cId="2462701168" sldId="2147474785"/>
        </pc:sldMkLst>
      </pc:sldChg>
      <pc:sldChg chg="del">
        <pc:chgData name="Marine Seignole" userId="cfdabe7f-1360-481b-9103-1714d28c5ba8" providerId="ADAL" clId="{ACEF3C5D-69D5-4F75-9CE0-A0BC835A8907}" dt="2025-03-26T13:31:03.003" v="19" actId="47"/>
        <pc:sldMkLst>
          <pc:docMk/>
          <pc:sldMk cId="180176557" sldId="2147474788"/>
        </pc:sldMkLst>
      </pc:sldChg>
      <pc:sldChg chg="del">
        <pc:chgData name="Marine Seignole" userId="cfdabe7f-1360-481b-9103-1714d28c5ba8" providerId="ADAL" clId="{ACEF3C5D-69D5-4F75-9CE0-A0BC835A8907}" dt="2025-03-26T13:30:24.084" v="7" actId="47"/>
        <pc:sldMkLst>
          <pc:docMk/>
          <pc:sldMk cId="1502669691" sldId="2147479000"/>
        </pc:sldMkLst>
      </pc:sldChg>
      <pc:sldChg chg="delSp mod">
        <pc:chgData name="Marine Seignole" userId="cfdabe7f-1360-481b-9103-1714d28c5ba8" providerId="ADAL" clId="{ACEF3C5D-69D5-4F75-9CE0-A0BC835A8907}" dt="2025-03-26T13:30:34.839" v="15" actId="478"/>
        <pc:sldMkLst>
          <pc:docMk/>
          <pc:sldMk cId="2483323396" sldId="2147479002"/>
        </pc:sldMkLst>
      </pc:sldChg>
      <pc:sldChg chg="del">
        <pc:chgData name="Marine Seignole" userId="cfdabe7f-1360-481b-9103-1714d28c5ba8" providerId="ADAL" clId="{ACEF3C5D-69D5-4F75-9CE0-A0BC835A8907}" dt="2025-03-26T13:30:24.084" v="7" actId="47"/>
        <pc:sldMkLst>
          <pc:docMk/>
          <pc:sldMk cId="3471819598" sldId="2147479003"/>
        </pc:sldMkLst>
      </pc:sldChg>
      <pc:sldChg chg="del">
        <pc:chgData name="Marine Seignole" userId="cfdabe7f-1360-481b-9103-1714d28c5ba8" providerId="ADAL" clId="{ACEF3C5D-69D5-4F75-9CE0-A0BC835A8907}" dt="2025-03-26T13:30:45.337" v="18" actId="47"/>
        <pc:sldMkLst>
          <pc:docMk/>
          <pc:sldMk cId="2224943700" sldId="2147479262"/>
        </pc:sldMkLst>
      </pc:sldChg>
      <pc:sldChg chg="del">
        <pc:chgData name="Marine Seignole" userId="cfdabe7f-1360-481b-9103-1714d28c5ba8" providerId="ADAL" clId="{ACEF3C5D-69D5-4F75-9CE0-A0BC835A8907}" dt="2025-03-26T13:31:03.003" v="19" actId="47"/>
        <pc:sldMkLst>
          <pc:docMk/>
          <pc:sldMk cId="2753644241" sldId="2147479264"/>
        </pc:sldMkLst>
      </pc:sldChg>
      <pc:sldChg chg="del">
        <pc:chgData name="Marine Seignole" userId="cfdabe7f-1360-481b-9103-1714d28c5ba8" providerId="ADAL" clId="{ACEF3C5D-69D5-4F75-9CE0-A0BC835A8907}" dt="2025-03-26T13:31:03.003" v="19" actId="47"/>
        <pc:sldMkLst>
          <pc:docMk/>
          <pc:sldMk cId="1065508215" sldId="2147479265"/>
        </pc:sldMkLst>
      </pc:sldChg>
      <pc:sldChg chg="modSp mod">
        <pc:chgData name="Marine Seignole" userId="cfdabe7f-1360-481b-9103-1714d28c5ba8" providerId="ADAL" clId="{ACEF3C5D-69D5-4F75-9CE0-A0BC835A8907}" dt="2025-03-26T14:12:03.498" v="406" actId="14100"/>
        <pc:sldMkLst>
          <pc:docMk/>
          <pc:sldMk cId="2982510915" sldId="2147479269"/>
        </pc:sldMkLst>
        <pc:picChg chg="mod">
          <ac:chgData name="Marine Seignole" userId="cfdabe7f-1360-481b-9103-1714d28c5ba8" providerId="ADAL" clId="{ACEF3C5D-69D5-4F75-9CE0-A0BC835A8907}" dt="2025-03-26T14:12:03.498" v="406" actId="14100"/>
          <ac:picMkLst>
            <pc:docMk/>
            <pc:sldMk cId="2982510915" sldId="2147479269"/>
            <ac:picMk id="7" creationId="{D3646438-0677-AD03-3F1F-5F0BDF4E3916}"/>
          </ac:picMkLst>
        </pc:picChg>
      </pc:sldChg>
      <pc:sldChg chg="modSp">
        <pc:chgData name="Marine Seignole" userId="cfdabe7f-1360-481b-9103-1714d28c5ba8" providerId="ADAL" clId="{ACEF3C5D-69D5-4F75-9CE0-A0BC835A8907}" dt="2025-03-26T14:12:15.382" v="407" actId="1076"/>
        <pc:sldMkLst>
          <pc:docMk/>
          <pc:sldMk cId="913448479" sldId="2147479275"/>
        </pc:sldMkLst>
        <pc:picChg chg="mod">
          <ac:chgData name="Marine Seignole" userId="cfdabe7f-1360-481b-9103-1714d28c5ba8" providerId="ADAL" clId="{ACEF3C5D-69D5-4F75-9CE0-A0BC835A8907}" dt="2025-03-26T14:12:15.382" v="407" actId="1076"/>
          <ac:picMkLst>
            <pc:docMk/>
            <pc:sldMk cId="913448479" sldId="2147479275"/>
            <ac:picMk id="5122" creationId="{C78B3BD6-F0B5-D762-D0F8-8D60DF37F08B}"/>
          </ac:picMkLst>
        </pc:picChg>
      </pc:sldChg>
      <pc:sldChg chg="modSp add del mod">
        <pc:chgData name="Marine Seignole" userId="cfdabe7f-1360-481b-9103-1714d28c5ba8" providerId="ADAL" clId="{ACEF3C5D-69D5-4F75-9CE0-A0BC835A8907}" dt="2025-03-31T09:37:35.469" v="455" actId="2696"/>
        <pc:sldMkLst>
          <pc:docMk/>
          <pc:sldMk cId="991944460" sldId="2147480444"/>
        </pc:sldMkLst>
      </pc:sldChg>
      <pc:sldMasterChg chg="del delSldLayout">
        <pc:chgData name="Marine Seignole" userId="cfdabe7f-1360-481b-9103-1714d28c5ba8" providerId="ADAL" clId="{ACEF3C5D-69D5-4F75-9CE0-A0BC835A8907}" dt="2025-03-26T13:31:03.003" v="19" actId="47"/>
        <pc:sldMasterMkLst>
          <pc:docMk/>
          <pc:sldMasterMk cId="982869404" sldId="2147483879"/>
        </pc:sldMasterMkLst>
        <pc:sldLayoutChg chg="del">
          <pc:chgData name="Marine Seignole" userId="cfdabe7f-1360-481b-9103-1714d28c5ba8" providerId="ADAL" clId="{ACEF3C5D-69D5-4F75-9CE0-A0BC835A8907}" dt="2025-03-26T13:31:03.003" v="19" actId="47"/>
          <pc:sldLayoutMkLst>
            <pc:docMk/>
            <pc:sldMasterMk cId="982869404" sldId="2147483879"/>
            <pc:sldLayoutMk cId="232408839" sldId="2147483880"/>
          </pc:sldLayoutMkLst>
        </pc:sldLayoutChg>
        <pc:sldLayoutChg chg="del">
          <pc:chgData name="Marine Seignole" userId="cfdabe7f-1360-481b-9103-1714d28c5ba8" providerId="ADAL" clId="{ACEF3C5D-69D5-4F75-9CE0-A0BC835A8907}" dt="2025-03-26T13:31:03.003" v="19" actId="47"/>
          <pc:sldLayoutMkLst>
            <pc:docMk/>
            <pc:sldMasterMk cId="982869404" sldId="2147483879"/>
            <pc:sldLayoutMk cId="2968643034" sldId="2147483881"/>
          </pc:sldLayoutMkLst>
        </pc:sldLayoutChg>
        <pc:sldLayoutChg chg="del">
          <pc:chgData name="Marine Seignole" userId="cfdabe7f-1360-481b-9103-1714d28c5ba8" providerId="ADAL" clId="{ACEF3C5D-69D5-4F75-9CE0-A0BC835A8907}" dt="2025-03-26T13:31:03.003" v="19" actId="47"/>
          <pc:sldLayoutMkLst>
            <pc:docMk/>
            <pc:sldMasterMk cId="982869404" sldId="2147483879"/>
            <pc:sldLayoutMk cId="1138700114" sldId="2147483882"/>
          </pc:sldLayoutMkLst>
        </pc:sldLayoutChg>
        <pc:sldLayoutChg chg="del">
          <pc:chgData name="Marine Seignole" userId="cfdabe7f-1360-481b-9103-1714d28c5ba8" providerId="ADAL" clId="{ACEF3C5D-69D5-4F75-9CE0-A0BC835A8907}" dt="2025-03-26T13:31:03.003" v="19" actId="47"/>
          <pc:sldLayoutMkLst>
            <pc:docMk/>
            <pc:sldMasterMk cId="982869404" sldId="2147483879"/>
            <pc:sldLayoutMk cId="1401171136" sldId="2147483883"/>
          </pc:sldLayoutMkLst>
        </pc:sldLayoutChg>
        <pc:sldLayoutChg chg="del">
          <pc:chgData name="Marine Seignole" userId="cfdabe7f-1360-481b-9103-1714d28c5ba8" providerId="ADAL" clId="{ACEF3C5D-69D5-4F75-9CE0-A0BC835A8907}" dt="2025-03-26T13:31:03.003" v="19" actId="47"/>
          <pc:sldLayoutMkLst>
            <pc:docMk/>
            <pc:sldMasterMk cId="982869404" sldId="2147483879"/>
            <pc:sldLayoutMk cId="4066391810" sldId="2147483884"/>
          </pc:sldLayoutMkLst>
        </pc:sldLayoutChg>
        <pc:sldLayoutChg chg="del">
          <pc:chgData name="Marine Seignole" userId="cfdabe7f-1360-481b-9103-1714d28c5ba8" providerId="ADAL" clId="{ACEF3C5D-69D5-4F75-9CE0-A0BC835A8907}" dt="2025-03-26T13:31:03.003" v="19" actId="47"/>
          <pc:sldLayoutMkLst>
            <pc:docMk/>
            <pc:sldMasterMk cId="982869404" sldId="2147483879"/>
            <pc:sldLayoutMk cId="3453803679" sldId="2147483885"/>
          </pc:sldLayoutMkLst>
        </pc:sldLayoutChg>
        <pc:sldLayoutChg chg="del">
          <pc:chgData name="Marine Seignole" userId="cfdabe7f-1360-481b-9103-1714d28c5ba8" providerId="ADAL" clId="{ACEF3C5D-69D5-4F75-9CE0-A0BC835A8907}" dt="2025-03-26T13:31:03.003" v="19" actId="47"/>
          <pc:sldLayoutMkLst>
            <pc:docMk/>
            <pc:sldMasterMk cId="982869404" sldId="2147483879"/>
            <pc:sldLayoutMk cId="3960119687" sldId="2147483886"/>
          </pc:sldLayoutMkLst>
        </pc:sldLayoutChg>
        <pc:sldLayoutChg chg="del">
          <pc:chgData name="Marine Seignole" userId="cfdabe7f-1360-481b-9103-1714d28c5ba8" providerId="ADAL" clId="{ACEF3C5D-69D5-4F75-9CE0-A0BC835A8907}" dt="2025-03-26T13:31:03.003" v="19" actId="47"/>
          <pc:sldLayoutMkLst>
            <pc:docMk/>
            <pc:sldMasterMk cId="982869404" sldId="2147483879"/>
            <pc:sldLayoutMk cId="3715675484" sldId="2147483887"/>
          </pc:sldLayoutMkLst>
        </pc:sldLayoutChg>
        <pc:sldLayoutChg chg="del">
          <pc:chgData name="Marine Seignole" userId="cfdabe7f-1360-481b-9103-1714d28c5ba8" providerId="ADAL" clId="{ACEF3C5D-69D5-4F75-9CE0-A0BC835A8907}" dt="2025-03-26T13:31:03.003" v="19" actId="47"/>
          <pc:sldLayoutMkLst>
            <pc:docMk/>
            <pc:sldMasterMk cId="982869404" sldId="2147483879"/>
            <pc:sldLayoutMk cId="1326346962" sldId="2147483888"/>
          </pc:sldLayoutMkLst>
        </pc:sldLayoutChg>
        <pc:sldLayoutChg chg="del">
          <pc:chgData name="Marine Seignole" userId="cfdabe7f-1360-481b-9103-1714d28c5ba8" providerId="ADAL" clId="{ACEF3C5D-69D5-4F75-9CE0-A0BC835A8907}" dt="2025-03-26T13:31:03.003" v="19" actId="47"/>
          <pc:sldLayoutMkLst>
            <pc:docMk/>
            <pc:sldMasterMk cId="982869404" sldId="2147483879"/>
            <pc:sldLayoutMk cId="2508804094" sldId="2147483889"/>
          </pc:sldLayoutMkLst>
        </pc:sldLayoutChg>
        <pc:sldLayoutChg chg="del">
          <pc:chgData name="Marine Seignole" userId="cfdabe7f-1360-481b-9103-1714d28c5ba8" providerId="ADAL" clId="{ACEF3C5D-69D5-4F75-9CE0-A0BC835A8907}" dt="2025-03-26T13:31:03.003" v="19" actId="47"/>
          <pc:sldLayoutMkLst>
            <pc:docMk/>
            <pc:sldMasterMk cId="982869404" sldId="2147483879"/>
            <pc:sldLayoutMk cId="298924319" sldId="2147483890"/>
          </pc:sldLayoutMkLst>
        </pc:sldLayoutChg>
        <pc:sldLayoutChg chg="del">
          <pc:chgData name="Marine Seignole" userId="cfdabe7f-1360-481b-9103-1714d28c5ba8" providerId="ADAL" clId="{ACEF3C5D-69D5-4F75-9CE0-A0BC835A8907}" dt="2025-03-26T13:31:03.003" v="19" actId="47"/>
          <pc:sldLayoutMkLst>
            <pc:docMk/>
            <pc:sldMasterMk cId="982869404" sldId="2147483879"/>
            <pc:sldLayoutMk cId="1682190004" sldId="2147483891"/>
          </pc:sldLayoutMkLst>
        </pc:sldLayoutChg>
        <pc:sldLayoutChg chg="del">
          <pc:chgData name="Marine Seignole" userId="cfdabe7f-1360-481b-9103-1714d28c5ba8" providerId="ADAL" clId="{ACEF3C5D-69D5-4F75-9CE0-A0BC835A8907}" dt="2025-03-26T13:31:03.003" v="19" actId="47"/>
          <pc:sldLayoutMkLst>
            <pc:docMk/>
            <pc:sldMasterMk cId="982869404" sldId="2147483879"/>
            <pc:sldLayoutMk cId="1335945850" sldId="2147483892"/>
          </pc:sldLayoutMkLst>
        </pc:sldLayoutChg>
        <pc:sldLayoutChg chg="del">
          <pc:chgData name="Marine Seignole" userId="cfdabe7f-1360-481b-9103-1714d28c5ba8" providerId="ADAL" clId="{ACEF3C5D-69D5-4F75-9CE0-A0BC835A8907}" dt="2025-03-26T13:31:03.003" v="19" actId="47"/>
          <pc:sldLayoutMkLst>
            <pc:docMk/>
            <pc:sldMasterMk cId="982869404" sldId="2147483879"/>
            <pc:sldLayoutMk cId="3571958130" sldId="2147483893"/>
          </pc:sldLayoutMkLst>
        </pc:sldLayoutChg>
        <pc:sldLayoutChg chg="del">
          <pc:chgData name="Marine Seignole" userId="cfdabe7f-1360-481b-9103-1714d28c5ba8" providerId="ADAL" clId="{ACEF3C5D-69D5-4F75-9CE0-A0BC835A8907}" dt="2025-03-26T13:31:03.003" v="19" actId="47"/>
          <pc:sldLayoutMkLst>
            <pc:docMk/>
            <pc:sldMasterMk cId="982869404" sldId="2147483879"/>
            <pc:sldLayoutMk cId="1526224733" sldId="2147483894"/>
          </pc:sldLayoutMkLst>
        </pc:sldLayoutChg>
        <pc:sldLayoutChg chg="del">
          <pc:chgData name="Marine Seignole" userId="cfdabe7f-1360-481b-9103-1714d28c5ba8" providerId="ADAL" clId="{ACEF3C5D-69D5-4F75-9CE0-A0BC835A8907}" dt="2025-03-26T13:31:03.003" v="19" actId="47"/>
          <pc:sldLayoutMkLst>
            <pc:docMk/>
            <pc:sldMasterMk cId="982869404" sldId="2147483879"/>
            <pc:sldLayoutMk cId="193058607" sldId="2147483895"/>
          </pc:sldLayoutMkLst>
        </pc:sldLayoutChg>
        <pc:sldLayoutChg chg="del">
          <pc:chgData name="Marine Seignole" userId="cfdabe7f-1360-481b-9103-1714d28c5ba8" providerId="ADAL" clId="{ACEF3C5D-69D5-4F75-9CE0-A0BC835A8907}" dt="2025-03-26T13:31:03.003" v="19" actId="47"/>
          <pc:sldLayoutMkLst>
            <pc:docMk/>
            <pc:sldMasterMk cId="982869404" sldId="2147483879"/>
            <pc:sldLayoutMk cId="3032745442" sldId="2147483896"/>
          </pc:sldLayoutMkLst>
        </pc:sldLayoutChg>
        <pc:sldLayoutChg chg="del">
          <pc:chgData name="Marine Seignole" userId="cfdabe7f-1360-481b-9103-1714d28c5ba8" providerId="ADAL" clId="{ACEF3C5D-69D5-4F75-9CE0-A0BC835A8907}" dt="2025-03-26T13:31:03.003" v="19" actId="47"/>
          <pc:sldLayoutMkLst>
            <pc:docMk/>
            <pc:sldMasterMk cId="982869404" sldId="2147483879"/>
            <pc:sldLayoutMk cId="1891502383" sldId="2147483897"/>
          </pc:sldLayoutMkLst>
        </pc:sldLayoutChg>
      </pc:sldMasterChg>
    </pc:docChg>
  </pc:docChgLst>
  <pc:docChgLst>
    <pc:chgData name="Marine Seignole" userId="cfdabe7f-1360-481b-9103-1714d28c5ba8" providerId="ADAL" clId="{0A76AD41-847B-499F-9314-C92F7E5A813B}"/>
    <pc:docChg chg="addSld modSld">
      <pc:chgData name="Marine Seignole" userId="cfdabe7f-1360-481b-9103-1714d28c5ba8" providerId="ADAL" clId="{0A76AD41-847B-499F-9314-C92F7E5A813B}" dt="2025-03-24T13:40:42.016" v="66" actId="1076"/>
      <pc:docMkLst>
        <pc:docMk/>
      </pc:docMkLst>
      <pc:sldChg chg="addSp modSp mod">
        <pc:chgData name="Marine Seignole" userId="cfdabe7f-1360-481b-9103-1714d28c5ba8" providerId="ADAL" clId="{0A76AD41-847B-499F-9314-C92F7E5A813B}" dt="2025-03-24T13:40:42.016" v="66" actId="1076"/>
        <pc:sldMkLst>
          <pc:docMk/>
          <pc:sldMk cId="2483323396" sldId="2147479002"/>
        </pc:sldMkLst>
        <pc:spChg chg="add">
          <ac:chgData name="Marine Seignole" userId="cfdabe7f-1360-481b-9103-1714d28c5ba8" providerId="ADAL" clId="{0A76AD41-847B-499F-9314-C92F7E5A813B}" dt="2025-03-24T13:22:27.046" v="50" actId="11529"/>
          <ac:spMkLst>
            <pc:docMk/>
            <pc:sldMk cId="2483323396" sldId="2147479002"/>
            <ac:spMk id="3" creationId="{2E198690-17D7-CCEF-AE2B-616EF9EBE514}"/>
          </ac:spMkLst>
        </pc:spChg>
        <pc:graphicFrameChg chg="modGraphic">
          <ac:chgData name="Marine Seignole" userId="cfdabe7f-1360-481b-9103-1714d28c5ba8" providerId="ADAL" clId="{0A76AD41-847B-499F-9314-C92F7E5A813B}" dt="2025-03-24T13:22:27.802" v="51" actId="14734"/>
          <ac:graphicFrameMkLst>
            <pc:docMk/>
            <pc:sldMk cId="2483323396" sldId="2147479002"/>
            <ac:graphicFrameMk id="6" creationId="{703EFCC3-9312-2271-2D5C-7EDF90629858}"/>
          </ac:graphicFrameMkLst>
        </pc:graphicFrameChg>
      </pc:sldChg>
      <pc:sldChg chg="addSp modSp new">
        <pc:chgData name="Marine Seignole" userId="cfdabe7f-1360-481b-9103-1714d28c5ba8" providerId="ADAL" clId="{0A76AD41-847B-499F-9314-C92F7E5A813B}" dt="2025-03-24T12:23:01.774" v="22" actId="1076"/>
        <pc:sldMkLst>
          <pc:docMk/>
          <pc:sldMk cId="4222038759" sldId="2147479268"/>
        </pc:sldMkLst>
        <pc:picChg chg="add mod">
          <ac:chgData name="Marine Seignole" userId="cfdabe7f-1360-481b-9103-1714d28c5ba8" providerId="ADAL" clId="{0A76AD41-847B-499F-9314-C92F7E5A813B}" dt="2025-03-24T12:23:01.774" v="22" actId="1076"/>
          <ac:picMkLst>
            <pc:docMk/>
            <pc:sldMk cId="4222038759" sldId="2147479268"/>
            <ac:picMk id="1026" creationId="{61D0370A-304E-71C2-B203-707943D416A0}"/>
          </ac:picMkLst>
        </pc:picChg>
      </pc:sldChg>
      <pc:sldChg chg="addSp modSp new mod">
        <pc:chgData name="Marine Seignole" userId="cfdabe7f-1360-481b-9103-1714d28c5ba8" providerId="ADAL" clId="{0A76AD41-847B-499F-9314-C92F7E5A813B}" dt="2025-03-24T12:20:59.791" v="5" actId="14100"/>
        <pc:sldMkLst>
          <pc:docMk/>
          <pc:sldMk cId="2982510915" sldId="2147479269"/>
        </pc:sldMkLst>
        <pc:picChg chg="add mod">
          <ac:chgData name="Marine Seignole" userId="cfdabe7f-1360-481b-9103-1714d28c5ba8" providerId="ADAL" clId="{0A76AD41-847B-499F-9314-C92F7E5A813B}" dt="2025-03-24T12:20:59.791" v="5" actId="14100"/>
          <ac:picMkLst>
            <pc:docMk/>
            <pc:sldMk cId="2982510915" sldId="2147479269"/>
            <ac:picMk id="7" creationId="{D3646438-0677-AD03-3F1F-5F0BDF4E3916}"/>
          </ac:picMkLst>
        </pc:picChg>
      </pc:sldChg>
      <pc:sldChg chg="addSp modSp new">
        <pc:chgData name="Marine Seignole" userId="cfdabe7f-1360-481b-9103-1714d28c5ba8" providerId="ADAL" clId="{0A76AD41-847B-499F-9314-C92F7E5A813B}" dt="2025-03-24T12:22:21.316" v="16" actId="1076"/>
        <pc:sldMkLst>
          <pc:docMk/>
          <pc:sldMk cId="98962689" sldId="2147479270"/>
        </pc:sldMkLst>
        <pc:spChg chg="mod">
          <ac:chgData name="Marine Seignole" userId="cfdabe7f-1360-481b-9103-1714d28c5ba8" providerId="ADAL" clId="{0A76AD41-847B-499F-9314-C92F7E5A813B}" dt="2025-03-24T12:22:11.994" v="11" actId="1076"/>
          <ac:spMkLst>
            <pc:docMk/>
            <pc:sldMk cId="98962689" sldId="2147479270"/>
            <ac:spMk id="3" creationId="{4B48907D-6594-7440-D6E6-976D7FC2DBB2}"/>
          </ac:spMkLst>
        </pc:spChg>
        <pc:picChg chg="add mod">
          <ac:chgData name="Marine Seignole" userId="cfdabe7f-1360-481b-9103-1714d28c5ba8" providerId="ADAL" clId="{0A76AD41-847B-499F-9314-C92F7E5A813B}" dt="2025-03-24T12:22:21.316" v="16" actId="1076"/>
          <ac:picMkLst>
            <pc:docMk/>
            <pc:sldMk cId="98962689" sldId="2147479270"/>
            <ac:picMk id="2050" creationId="{9A8A3933-17C3-0A50-A145-F1233F1EA682}"/>
          </ac:picMkLst>
        </pc:picChg>
      </pc:sldChg>
      <pc:sldChg chg="addSp delSp modSp new mod">
        <pc:chgData name="Marine Seignole" userId="cfdabe7f-1360-481b-9103-1714d28c5ba8" providerId="ADAL" clId="{0A76AD41-847B-499F-9314-C92F7E5A813B}" dt="2025-03-24T12:22:56.720" v="20" actId="14100"/>
        <pc:sldMkLst>
          <pc:docMk/>
          <pc:sldMk cId="42472450" sldId="2147479271"/>
        </pc:sldMkLst>
        <pc:picChg chg="add mod ord">
          <ac:chgData name="Marine Seignole" userId="cfdabe7f-1360-481b-9103-1714d28c5ba8" providerId="ADAL" clId="{0A76AD41-847B-499F-9314-C92F7E5A813B}" dt="2025-03-24T12:22:56.720" v="20" actId="14100"/>
          <ac:picMkLst>
            <pc:docMk/>
            <pc:sldMk cId="42472450" sldId="2147479271"/>
            <ac:picMk id="7" creationId="{3CA3CB80-505A-B7F9-A1E3-843127EE2B18}"/>
          </ac:picMkLst>
        </pc:picChg>
      </pc:sldChg>
      <pc:sldChg chg="addSp delSp modSp new mod">
        <pc:chgData name="Marine Seignole" userId="cfdabe7f-1360-481b-9103-1714d28c5ba8" providerId="ADAL" clId="{0A76AD41-847B-499F-9314-C92F7E5A813B}" dt="2025-03-24T13:17:19.658" v="30" actId="14100"/>
        <pc:sldMkLst>
          <pc:docMk/>
          <pc:sldMk cId="579538445" sldId="2147479272"/>
        </pc:sldMkLst>
        <pc:picChg chg="add mod">
          <ac:chgData name="Marine Seignole" userId="cfdabe7f-1360-481b-9103-1714d28c5ba8" providerId="ADAL" clId="{0A76AD41-847B-499F-9314-C92F7E5A813B}" dt="2025-03-24T13:17:19.658" v="30" actId="14100"/>
          <ac:picMkLst>
            <pc:docMk/>
            <pc:sldMk cId="579538445" sldId="2147479272"/>
            <ac:picMk id="7" creationId="{40AF5D7F-9377-01F6-3EEF-C24A92D5E18C}"/>
          </ac:picMkLst>
        </pc:picChg>
      </pc:sldChg>
      <pc:sldChg chg="addSp modSp new">
        <pc:chgData name="Marine Seignole" userId="cfdabe7f-1360-481b-9103-1714d28c5ba8" providerId="ADAL" clId="{0A76AD41-847B-499F-9314-C92F7E5A813B}" dt="2025-03-24T13:18:15.896" v="41" actId="1076"/>
        <pc:sldMkLst>
          <pc:docMk/>
          <pc:sldMk cId="968902135" sldId="2147479273"/>
        </pc:sldMkLst>
        <pc:picChg chg="add mod">
          <ac:chgData name="Marine Seignole" userId="cfdabe7f-1360-481b-9103-1714d28c5ba8" providerId="ADAL" clId="{0A76AD41-847B-499F-9314-C92F7E5A813B}" dt="2025-03-24T13:18:15.896" v="41" actId="1076"/>
          <ac:picMkLst>
            <pc:docMk/>
            <pc:sldMk cId="968902135" sldId="2147479273"/>
            <ac:picMk id="3074" creationId="{EF85F947-6B02-25EE-C30D-0ADB2B78740E}"/>
          </ac:picMkLst>
        </pc:picChg>
      </pc:sldChg>
      <pc:sldChg chg="addSp delSp modSp new">
        <pc:chgData name="Marine Seignole" userId="cfdabe7f-1360-481b-9103-1714d28c5ba8" providerId="ADAL" clId="{0A76AD41-847B-499F-9314-C92F7E5A813B}" dt="2025-03-24T13:18:49.970" v="45" actId="14100"/>
        <pc:sldMkLst>
          <pc:docMk/>
          <pc:sldMk cId="3266577007" sldId="2147479274"/>
        </pc:sldMkLst>
        <pc:picChg chg="add mod">
          <ac:chgData name="Marine Seignole" userId="cfdabe7f-1360-481b-9103-1714d28c5ba8" providerId="ADAL" clId="{0A76AD41-847B-499F-9314-C92F7E5A813B}" dt="2025-03-24T13:18:49.970" v="45" actId="14100"/>
          <ac:picMkLst>
            <pc:docMk/>
            <pc:sldMk cId="3266577007" sldId="2147479274"/>
            <ac:picMk id="4098" creationId="{19CB3124-C1F9-2CF2-B948-6F0B437C477C}"/>
          </ac:picMkLst>
        </pc:picChg>
      </pc:sldChg>
      <pc:sldChg chg="addSp modSp new">
        <pc:chgData name="Marine Seignole" userId="cfdabe7f-1360-481b-9103-1714d28c5ba8" providerId="ADAL" clId="{0A76AD41-847B-499F-9314-C92F7E5A813B}" dt="2025-03-24T13:19:11.874" v="49" actId="14100"/>
        <pc:sldMkLst>
          <pc:docMk/>
          <pc:sldMk cId="913448479" sldId="2147479275"/>
        </pc:sldMkLst>
        <pc:picChg chg="add mod">
          <ac:chgData name="Marine Seignole" userId="cfdabe7f-1360-481b-9103-1714d28c5ba8" providerId="ADAL" clId="{0A76AD41-847B-499F-9314-C92F7E5A813B}" dt="2025-03-24T13:19:11.874" v="49" actId="14100"/>
          <ac:picMkLst>
            <pc:docMk/>
            <pc:sldMk cId="913448479" sldId="2147479275"/>
            <ac:picMk id="5122" creationId="{C78B3BD6-F0B5-D762-D0F8-8D60DF37F08B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C43364-0FF4-4979-9263-BB8B0EBB673B}" type="datetimeFigureOut">
              <a:rPr lang="en-US" smtClean="0"/>
              <a:t>3/3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B009B6-A142-45B6-8F0A-DC83CFAB9B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85076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B009B6-A142-45B6-8F0A-DC83CFAB9B0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04769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emf"/><Relationship Id="rId7" Type="http://schemas.openxmlformats.org/officeDocument/2006/relationships/image" Target="../media/image7.sv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9" Type="http://schemas.openxmlformats.org/officeDocument/2006/relationships/image" Target="../media/image9.sv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if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tif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tif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tif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7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planning">
            <a:extLst>
              <a:ext uri="{FF2B5EF4-FFF2-40B4-BE49-F238E27FC236}">
                <a16:creationId xmlns:a16="http://schemas.microsoft.com/office/drawing/2014/main" id="{41168D6B-B9D8-75F9-1B1D-9166387290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alphaModFix amt="5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2129" y="2624407"/>
            <a:ext cx="5239871" cy="3493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28403" y="945913"/>
            <a:ext cx="8637073" cy="2618554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28404" y="3564467"/>
            <a:ext cx="8637072" cy="1071095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4.03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127124" y="329307"/>
            <a:ext cx="5943668" cy="309201"/>
          </a:xfrm>
        </p:spPr>
        <p:txBody>
          <a:bodyPr/>
          <a:lstStyle/>
          <a:p>
            <a:r>
              <a:rPr lang="en-US" dirty="0"/>
              <a:t>The FORCE Integrated Reservoir Modelling Group presents Cake &amp; Discus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24392" y="134930"/>
            <a:ext cx="811019" cy="503578"/>
          </a:xfrm>
        </p:spPr>
        <p:txBody>
          <a:bodyPr/>
          <a:lstStyle/>
          <a:p>
            <a:fld id="{D2929422-49FF-454F-8FF9-B363F50C5138}" type="slidenum">
              <a:rPr lang="en-US" smtClean="0"/>
              <a:t>‹#›</a:t>
            </a:fld>
            <a:endParaRPr lang="en-US"/>
          </a:p>
        </p:txBody>
      </p:sp>
      <p:pic>
        <p:nvPicPr>
          <p:cNvPr id="16" name="Picture 15" descr="RedHashing.emf"/>
          <p:cNvPicPr>
            <a:picLocks/>
          </p:cNvPicPr>
          <p:nvPr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5" r="15828" b="36435"/>
          <a:stretch/>
        </p:blipFill>
        <p:spPr>
          <a:xfrm>
            <a:off x="1125460" y="643464"/>
            <a:ext cx="9610344" cy="15544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A1F1C11B-16BB-7211-F56F-35BE4932B00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797989" y="-115544"/>
            <a:ext cx="1333500" cy="1333500"/>
            <a:chOff x="344845" y="1271953"/>
            <a:chExt cx="3730426" cy="3730427"/>
          </a:xfrm>
        </p:grpSpPr>
        <p:pic>
          <p:nvPicPr>
            <p:cNvPr id="9" name="Graphic 8" descr="Meeting outline">
              <a:extLst>
                <a:ext uri="{FF2B5EF4-FFF2-40B4-BE49-F238E27FC236}">
                  <a16:creationId xmlns:a16="http://schemas.microsoft.com/office/drawing/2014/main" id="{49F002E7-DFE8-E313-62E7-999D9BB0AAA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44845" y="1271953"/>
              <a:ext cx="3730426" cy="3730427"/>
            </a:xfrm>
            <a:prstGeom prst="rect">
              <a:avLst/>
            </a:prstGeom>
          </p:spPr>
        </p:pic>
        <p:pic>
          <p:nvPicPr>
            <p:cNvPr id="10" name="Graphic 9" descr="Cupcake outline">
              <a:extLst>
                <a:ext uri="{FF2B5EF4-FFF2-40B4-BE49-F238E27FC236}">
                  <a16:creationId xmlns:a16="http://schemas.microsoft.com/office/drawing/2014/main" id="{D3DF7798-27BE-CB57-D9E2-EADBA256481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210058" y="3494698"/>
              <a:ext cx="774636" cy="774636"/>
            </a:xfrm>
            <a:prstGeom prst="rect">
              <a:avLst/>
            </a:prstGeom>
          </p:spPr>
        </p:pic>
        <p:pic>
          <p:nvPicPr>
            <p:cNvPr id="11" name="Content Placeholder 6" descr="Cake slice with solid fill">
              <a:extLst>
                <a:ext uri="{FF2B5EF4-FFF2-40B4-BE49-F238E27FC236}">
                  <a16:creationId xmlns:a16="http://schemas.microsoft.com/office/drawing/2014/main" id="{1050F5BD-2C4C-E93B-0C7C-C5D71F6D8D9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295658" y="3474164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06071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4.03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he FORCE Integrated Reservoir Modelling Group presents Cake &amp; Discus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929422-49FF-454F-8FF9-B363F50C5138}" type="slidenum">
              <a:rPr lang="en-US" smtClean="0"/>
              <a:t>‹#›</a:t>
            </a:fld>
            <a:endParaRPr lang="en-US"/>
          </a:p>
        </p:txBody>
      </p:sp>
      <p:pic>
        <p:nvPicPr>
          <p:cNvPr id="15" name="Picture 14" descr="RedHashing.emf"/>
          <p:cNvPicPr>
            <a:picLocks/>
          </p:cNvPicPr>
          <p:nvPr/>
        </p:nvPicPr>
        <p:blipFill rotWithShape="1"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5" r="15828" b="36435"/>
          <a:stretch/>
        </p:blipFill>
        <p:spPr>
          <a:xfrm>
            <a:off x="1125460" y="643464"/>
            <a:ext cx="9610344" cy="15544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A7B9AA8-6B73-507B-C810-3B19133D04C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797989" y="-115544"/>
            <a:ext cx="1333500" cy="1333500"/>
            <a:chOff x="344845" y="1271954"/>
            <a:chExt cx="3730426" cy="3730426"/>
          </a:xfrm>
        </p:grpSpPr>
        <p:pic>
          <p:nvPicPr>
            <p:cNvPr id="8" name="Graphic 7" descr="Meeting outline">
              <a:extLst>
                <a:ext uri="{FF2B5EF4-FFF2-40B4-BE49-F238E27FC236}">
                  <a16:creationId xmlns:a16="http://schemas.microsoft.com/office/drawing/2014/main" id="{84A25C11-B696-C7F4-BB79-5113997B9A5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44845" y="1271954"/>
              <a:ext cx="3730426" cy="3730426"/>
            </a:xfrm>
            <a:prstGeom prst="rect">
              <a:avLst/>
            </a:prstGeom>
          </p:spPr>
        </p:pic>
        <p:pic>
          <p:nvPicPr>
            <p:cNvPr id="9" name="Graphic 8" descr="Cupcake outline">
              <a:extLst>
                <a:ext uri="{FF2B5EF4-FFF2-40B4-BE49-F238E27FC236}">
                  <a16:creationId xmlns:a16="http://schemas.microsoft.com/office/drawing/2014/main" id="{04F09876-A4F8-4EAB-1F77-95E5EB03CB7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10058" y="3494698"/>
              <a:ext cx="774636" cy="774636"/>
            </a:xfrm>
            <a:prstGeom prst="rect">
              <a:avLst/>
            </a:prstGeom>
          </p:spPr>
        </p:pic>
        <p:pic>
          <p:nvPicPr>
            <p:cNvPr id="10" name="Content Placeholder 6" descr="Cake slice with solid fill">
              <a:extLst>
                <a:ext uri="{FF2B5EF4-FFF2-40B4-BE49-F238E27FC236}">
                  <a16:creationId xmlns:a16="http://schemas.microsoft.com/office/drawing/2014/main" id="{26C5335C-633A-F554-9ACB-7E408E67A67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95658" y="3474164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37813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24709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30270" y="798973"/>
            <a:ext cx="7828830" cy="465988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4.03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he FORCE Integrated Reservoir Modelling Group presents Cake &amp; Discus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929422-49FF-454F-8FF9-B363F50C5138}" type="slidenum">
              <a:rPr lang="en-US" smtClean="0"/>
              <a:t>‹#›</a:t>
            </a:fld>
            <a:endParaRPr lang="en-US"/>
          </a:p>
        </p:txBody>
      </p:sp>
      <p:pic>
        <p:nvPicPr>
          <p:cNvPr id="17" name="Picture 16" descr="RedHashing.emf"/>
          <p:cNvPicPr>
            <a:picLocks/>
          </p:cNvPicPr>
          <p:nvPr/>
        </p:nvPicPr>
        <p:blipFill rotWithShape="1"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5" r="59215" b="36435"/>
          <a:stretch/>
        </p:blipFill>
        <p:spPr>
          <a:xfrm rot="5400000">
            <a:off x="8642279" y="3046916"/>
            <a:ext cx="4663440" cy="15544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83128359-A7CA-339A-6263-618E549CB9C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797989" y="-115544"/>
            <a:ext cx="1333500" cy="1333500"/>
            <a:chOff x="344845" y="1271954"/>
            <a:chExt cx="3730426" cy="3730426"/>
          </a:xfrm>
        </p:grpSpPr>
        <p:pic>
          <p:nvPicPr>
            <p:cNvPr id="8" name="Graphic 7" descr="Meeting outline">
              <a:extLst>
                <a:ext uri="{FF2B5EF4-FFF2-40B4-BE49-F238E27FC236}">
                  <a16:creationId xmlns:a16="http://schemas.microsoft.com/office/drawing/2014/main" id="{3DD10818-A815-5AC2-2354-7128A82AB1F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44845" y="1271954"/>
              <a:ext cx="3730426" cy="3730426"/>
            </a:xfrm>
            <a:prstGeom prst="rect">
              <a:avLst/>
            </a:prstGeom>
          </p:spPr>
        </p:pic>
        <p:pic>
          <p:nvPicPr>
            <p:cNvPr id="9" name="Graphic 8" descr="Cupcake outline">
              <a:extLst>
                <a:ext uri="{FF2B5EF4-FFF2-40B4-BE49-F238E27FC236}">
                  <a16:creationId xmlns:a16="http://schemas.microsoft.com/office/drawing/2014/main" id="{ABFCC58B-0BF4-C510-6200-B0A763BE3DA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10058" y="3494698"/>
              <a:ext cx="774636" cy="774636"/>
            </a:xfrm>
            <a:prstGeom prst="rect">
              <a:avLst/>
            </a:prstGeom>
          </p:spPr>
        </p:pic>
        <p:pic>
          <p:nvPicPr>
            <p:cNvPr id="10" name="Content Placeholder 6" descr="Cake slice with solid fill">
              <a:extLst>
                <a:ext uri="{FF2B5EF4-FFF2-40B4-BE49-F238E27FC236}">
                  <a16:creationId xmlns:a16="http://schemas.microsoft.com/office/drawing/2014/main" id="{FB3D1901-B571-4ADE-9368-2DF3D0062D5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95658" y="3474164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79789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724"/>
            <a:ext cx="12193293" cy="685727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40" y="517459"/>
            <a:ext cx="1887660" cy="1887660"/>
          </a:xfrm>
          <a:prstGeom prst="rect">
            <a:avLst/>
          </a:prstGeom>
          <a:ln>
            <a:noFill/>
          </a:ln>
        </p:spPr>
      </p:pic>
      <p:sp>
        <p:nvSpPr>
          <p:cNvPr id="28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766800" y="2754403"/>
            <a:ext cx="9973373" cy="918000"/>
          </a:xfrm>
          <a:noFill/>
        </p:spPr>
        <p:txBody>
          <a:bodyPr lIns="0" tIns="0" rIns="0" anchor="b" anchorCtr="0"/>
          <a:lstStyle>
            <a:lvl1pPr>
              <a:lnSpc>
                <a:spcPct val="110000"/>
              </a:lnSpc>
              <a:defRPr sz="36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9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766800" y="3805856"/>
            <a:ext cx="9976548" cy="749808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20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32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66800" y="4832087"/>
            <a:ext cx="787112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Heavy" panose="00000700000000000000" pitchFamily="2" charset="0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33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6800" y="5083916"/>
            <a:ext cx="787112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Medium" panose="00000600000000000000" pitchFamily="2" charset="0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2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  <a:endParaRPr lang="en-GB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C2DC272C-F20A-41D0-A1C3-BB47EB2EA9D2}" type="datetime3">
              <a:rPr lang="en-US" noProof="1" smtClean="0"/>
              <a:t>31 March 2025</a:t>
            </a:fld>
            <a:endParaRPr lang="en-GB" noProof="1"/>
          </a:p>
        </p:txBody>
      </p:sp>
      <p:sp>
        <p:nvSpPr>
          <p:cNvPr id="8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/S Norske Shell E&amp;P</a:t>
            </a:r>
          </a:p>
        </p:txBody>
      </p:sp>
    </p:spTree>
    <p:extLst>
      <p:ext uri="{BB962C8B-B14F-4D97-AF65-F5344CB8AC3E}">
        <p14:creationId xmlns:p14="http://schemas.microsoft.com/office/powerpoint/2010/main" val="339264585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4" pos="7357">
          <p15:clr>
            <a:srgbClr val="FBAE40"/>
          </p15:clr>
        </p15:guide>
        <p15:guide id="5" pos="1121">
          <p15:clr>
            <a:srgbClr val="FBAE40"/>
          </p15:clr>
        </p15:guide>
        <p15:guide id="6" orient="horz" pos="4074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65175" y="2286000"/>
            <a:ext cx="4143255" cy="1386000"/>
          </a:xfrm>
          <a:noFill/>
        </p:spPr>
        <p:txBody>
          <a:bodyPr lIns="0" tIns="0" rIns="0" anchor="b" anchorCtr="0"/>
          <a:lstStyle>
            <a:lvl1pPr>
              <a:lnSpc>
                <a:spcPct val="110000"/>
              </a:lnSpc>
              <a:defRPr sz="36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65175" y="3805200"/>
            <a:ext cx="4060821" cy="749808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20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765175" y="4831200"/>
            <a:ext cx="4060821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Heavy" panose="00000700000000000000" pitchFamily="2" charset="0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765175" y="5083200"/>
            <a:ext cx="4060821" cy="489785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Medium" panose="00000600000000000000" pitchFamily="2" charset="0"/>
              </a:defRPr>
            </a:lvl1pPr>
          </a:lstStyle>
          <a:p>
            <a:pPr lvl="0"/>
            <a:r>
              <a:rPr lang="en-GB"/>
              <a:t>Click to insert Role in Organisation</a:t>
            </a:r>
          </a:p>
        </p:txBody>
      </p:sp>
      <p:sp>
        <p:nvSpPr>
          <p:cNvPr id="30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  <a:endParaRPr lang="en-GB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 bwMode="auto">
          <a:xfrm>
            <a:off x="5047384" y="1"/>
            <a:ext cx="7144616" cy="6359524"/>
          </a:xfrm>
          <a:custGeom>
            <a:avLst/>
            <a:gdLst>
              <a:gd name="connsiteX0" fmla="*/ 0 w 7141676"/>
              <a:gd name="connsiteY0" fmla="*/ 0 h 6316132"/>
              <a:gd name="connsiteX1" fmla="*/ 7141676 w 7141676"/>
              <a:gd name="connsiteY1" fmla="*/ 0 h 6316132"/>
              <a:gd name="connsiteX2" fmla="*/ 7141676 w 7141676"/>
              <a:gd name="connsiteY2" fmla="*/ 6316132 h 6316132"/>
              <a:gd name="connsiteX3" fmla="*/ 0 w 7141676"/>
              <a:gd name="connsiteY3" fmla="*/ 6316132 h 6316132"/>
              <a:gd name="connsiteX4" fmla="*/ 0 w 7141676"/>
              <a:gd name="connsiteY4" fmla="*/ 0 h 6316132"/>
              <a:gd name="connsiteX0" fmla="*/ 2940 w 7144616"/>
              <a:gd name="connsiteY0" fmla="*/ 0 h 6316132"/>
              <a:gd name="connsiteX1" fmla="*/ 7144616 w 7144616"/>
              <a:gd name="connsiteY1" fmla="*/ 0 h 6316132"/>
              <a:gd name="connsiteX2" fmla="*/ 7144616 w 7144616"/>
              <a:gd name="connsiteY2" fmla="*/ 6316132 h 6316132"/>
              <a:gd name="connsiteX3" fmla="*/ 2940 w 7144616"/>
              <a:gd name="connsiteY3" fmla="*/ 6316132 h 6316132"/>
              <a:gd name="connsiteX4" fmla="*/ 0 w 7144616"/>
              <a:gd name="connsiteY4" fmla="*/ 5779942 h 6316132"/>
              <a:gd name="connsiteX5" fmla="*/ 2940 w 7144616"/>
              <a:gd name="connsiteY5" fmla="*/ 0 h 6316132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2940 w 7144616"/>
              <a:gd name="connsiteY4" fmla="*/ 6316132 h 6316773"/>
              <a:gd name="connsiteX5" fmla="*/ 0 w 7144616"/>
              <a:gd name="connsiteY5" fmla="*/ 5779942 h 6316773"/>
              <a:gd name="connsiteX6" fmla="*/ 2940 w 7144616"/>
              <a:gd name="connsiteY6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7008"/>
              <a:gd name="connsiteX1" fmla="*/ 7144616 w 7144616"/>
              <a:gd name="connsiteY1" fmla="*/ 0 h 6317008"/>
              <a:gd name="connsiteX2" fmla="*/ 7144616 w 7144616"/>
              <a:gd name="connsiteY2" fmla="*/ 6316132 h 6317008"/>
              <a:gd name="connsiteX3" fmla="*/ 537870 w 7144616"/>
              <a:gd name="connsiteY3" fmla="*/ 6316773 h 6317008"/>
              <a:gd name="connsiteX4" fmla="*/ 0 w 7144616"/>
              <a:gd name="connsiteY4" fmla="*/ 5779942 h 6317008"/>
              <a:gd name="connsiteX5" fmla="*/ 2940 w 7144616"/>
              <a:gd name="connsiteY5" fmla="*/ 0 h 6317008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44616" h="6316773">
                <a:moveTo>
                  <a:pt x="2940" y="0"/>
                </a:moveTo>
                <a:lnTo>
                  <a:pt x="7144616" y="0"/>
                </a:lnTo>
                <a:lnTo>
                  <a:pt x="7144616" y="6316132"/>
                </a:lnTo>
                <a:lnTo>
                  <a:pt x="537870" y="6316773"/>
                </a:lnTo>
                <a:cubicBezTo>
                  <a:pt x="214457" y="6313295"/>
                  <a:pt x="5024" y="6140981"/>
                  <a:pt x="0" y="5779942"/>
                </a:cubicBezTo>
                <a:lnTo>
                  <a:pt x="2940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2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A11E799A-306C-49C9-9CF5-57C9CC336225}" type="datetime3">
              <a:rPr lang="en-US" noProof="1" smtClean="0"/>
              <a:t>31 March 2025</a:t>
            </a:fld>
            <a:endParaRPr lang="en-GB" noProof="1"/>
          </a:p>
        </p:txBody>
      </p:sp>
      <p:sp>
        <p:nvSpPr>
          <p:cNvPr id="1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/S Norske Shell E&amp;P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40" y="517459"/>
            <a:ext cx="1887660" cy="188766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21264082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 userDrawn="1">
            <p:ph type="pic" sz="quarter" idx="12"/>
          </p:nvPr>
        </p:nvSpPr>
        <p:spPr bwMode="auto">
          <a:xfrm>
            <a:off x="5077731" y="1015519"/>
            <a:ext cx="7115469" cy="5344822"/>
          </a:xfrm>
          <a:custGeom>
            <a:avLst/>
            <a:gdLst>
              <a:gd name="connsiteX0" fmla="*/ 0 w 7113204"/>
              <a:gd name="connsiteY0" fmla="*/ 0 h 5343523"/>
              <a:gd name="connsiteX1" fmla="*/ 7113204 w 7113204"/>
              <a:gd name="connsiteY1" fmla="*/ 0 h 5343523"/>
              <a:gd name="connsiteX2" fmla="*/ 7113204 w 7113204"/>
              <a:gd name="connsiteY2" fmla="*/ 5343523 h 5343523"/>
              <a:gd name="connsiteX3" fmla="*/ 0 w 7113204"/>
              <a:gd name="connsiteY3" fmla="*/ 5343523 h 5343523"/>
              <a:gd name="connsiteX4" fmla="*/ 0 w 7113204"/>
              <a:gd name="connsiteY4" fmla="*/ 0 h 5343523"/>
              <a:gd name="connsiteX0" fmla="*/ 0 w 7113204"/>
              <a:gd name="connsiteY0" fmla="*/ 0 h 5344338"/>
              <a:gd name="connsiteX1" fmla="*/ 7113204 w 7113204"/>
              <a:gd name="connsiteY1" fmla="*/ 0 h 5344338"/>
              <a:gd name="connsiteX2" fmla="*/ 7113204 w 7113204"/>
              <a:gd name="connsiteY2" fmla="*/ 5343523 h 5344338"/>
              <a:gd name="connsiteX3" fmla="*/ 503508 w 7113204"/>
              <a:gd name="connsiteY3" fmla="*/ 5344338 h 5344338"/>
              <a:gd name="connsiteX4" fmla="*/ 0 w 7113204"/>
              <a:gd name="connsiteY4" fmla="*/ 5343523 h 5344338"/>
              <a:gd name="connsiteX5" fmla="*/ 0 w 7113204"/>
              <a:gd name="connsiteY5" fmla="*/ 0 h 5344338"/>
              <a:gd name="connsiteX0" fmla="*/ 0 w 7113204"/>
              <a:gd name="connsiteY0" fmla="*/ 0 h 5344338"/>
              <a:gd name="connsiteX1" fmla="*/ 7113204 w 7113204"/>
              <a:gd name="connsiteY1" fmla="*/ 0 h 5344338"/>
              <a:gd name="connsiteX2" fmla="*/ 7113204 w 7113204"/>
              <a:gd name="connsiteY2" fmla="*/ 5343523 h 5344338"/>
              <a:gd name="connsiteX3" fmla="*/ 503508 w 7113204"/>
              <a:gd name="connsiteY3" fmla="*/ 5344338 h 5344338"/>
              <a:gd name="connsiteX4" fmla="*/ 0 w 7113204"/>
              <a:gd name="connsiteY4" fmla="*/ 5343523 h 5344338"/>
              <a:gd name="connsiteX5" fmla="*/ 1802 w 7113204"/>
              <a:gd name="connsiteY5" fmla="*/ 4810262 h 5344338"/>
              <a:gd name="connsiteX6" fmla="*/ 0 w 7113204"/>
              <a:gd name="connsiteY6" fmla="*/ 0 h 5344338"/>
              <a:gd name="connsiteX0" fmla="*/ 0 w 7113204"/>
              <a:gd name="connsiteY0" fmla="*/ 0 h 5344338"/>
              <a:gd name="connsiteX1" fmla="*/ 7113204 w 7113204"/>
              <a:gd name="connsiteY1" fmla="*/ 0 h 5344338"/>
              <a:gd name="connsiteX2" fmla="*/ 7113204 w 7113204"/>
              <a:gd name="connsiteY2" fmla="*/ 5343523 h 5344338"/>
              <a:gd name="connsiteX3" fmla="*/ 503508 w 7113204"/>
              <a:gd name="connsiteY3" fmla="*/ 5344338 h 5344338"/>
              <a:gd name="connsiteX4" fmla="*/ 1802 w 7113204"/>
              <a:gd name="connsiteY4" fmla="*/ 4810262 h 5344338"/>
              <a:gd name="connsiteX5" fmla="*/ 0 w 7113204"/>
              <a:gd name="connsiteY5" fmla="*/ 0 h 5344338"/>
              <a:gd name="connsiteX0" fmla="*/ 0 w 7113204"/>
              <a:gd name="connsiteY0" fmla="*/ 0 h 5344338"/>
              <a:gd name="connsiteX1" fmla="*/ 7113204 w 7113204"/>
              <a:gd name="connsiteY1" fmla="*/ 0 h 5344338"/>
              <a:gd name="connsiteX2" fmla="*/ 7113204 w 7113204"/>
              <a:gd name="connsiteY2" fmla="*/ 5343523 h 5344338"/>
              <a:gd name="connsiteX3" fmla="*/ 503508 w 7113204"/>
              <a:gd name="connsiteY3" fmla="*/ 5344338 h 5344338"/>
              <a:gd name="connsiteX4" fmla="*/ 1802 w 7113204"/>
              <a:gd name="connsiteY4" fmla="*/ 4810262 h 5344338"/>
              <a:gd name="connsiteX5" fmla="*/ 0 w 7113204"/>
              <a:gd name="connsiteY5" fmla="*/ 0 h 5344338"/>
              <a:gd name="connsiteX0" fmla="*/ 0 w 7113204"/>
              <a:gd name="connsiteY0" fmla="*/ 0 h 5344338"/>
              <a:gd name="connsiteX1" fmla="*/ 7113204 w 7113204"/>
              <a:gd name="connsiteY1" fmla="*/ 0 h 5344338"/>
              <a:gd name="connsiteX2" fmla="*/ 7113204 w 7113204"/>
              <a:gd name="connsiteY2" fmla="*/ 5343523 h 5344338"/>
              <a:gd name="connsiteX3" fmla="*/ 503508 w 7113204"/>
              <a:gd name="connsiteY3" fmla="*/ 5344338 h 5344338"/>
              <a:gd name="connsiteX4" fmla="*/ 1802 w 7113204"/>
              <a:gd name="connsiteY4" fmla="*/ 4810262 h 5344338"/>
              <a:gd name="connsiteX5" fmla="*/ 0 w 7113204"/>
              <a:gd name="connsiteY5" fmla="*/ 0 h 5344338"/>
              <a:gd name="connsiteX0" fmla="*/ 0 w 7113204"/>
              <a:gd name="connsiteY0" fmla="*/ 0 h 5344338"/>
              <a:gd name="connsiteX1" fmla="*/ 7113204 w 7113204"/>
              <a:gd name="connsiteY1" fmla="*/ 0 h 5344338"/>
              <a:gd name="connsiteX2" fmla="*/ 7113204 w 7113204"/>
              <a:gd name="connsiteY2" fmla="*/ 5343523 h 5344338"/>
              <a:gd name="connsiteX3" fmla="*/ 503508 w 7113204"/>
              <a:gd name="connsiteY3" fmla="*/ 5344338 h 5344338"/>
              <a:gd name="connsiteX4" fmla="*/ 1802 w 7113204"/>
              <a:gd name="connsiteY4" fmla="*/ 4810262 h 5344338"/>
              <a:gd name="connsiteX5" fmla="*/ 0 w 7113204"/>
              <a:gd name="connsiteY5" fmla="*/ 0 h 5344338"/>
              <a:gd name="connsiteX0" fmla="*/ 0 w 7113204"/>
              <a:gd name="connsiteY0" fmla="*/ 0 h 5344338"/>
              <a:gd name="connsiteX1" fmla="*/ 7113204 w 7113204"/>
              <a:gd name="connsiteY1" fmla="*/ 0 h 5344338"/>
              <a:gd name="connsiteX2" fmla="*/ 7113204 w 7113204"/>
              <a:gd name="connsiteY2" fmla="*/ 5343523 h 5344338"/>
              <a:gd name="connsiteX3" fmla="*/ 503508 w 7113204"/>
              <a:gd name="connsiteY3" fmla="*/ 5344338 h 5344338"/>
              <a:gd name="connsiteX4" fmla="*/ 1802 w 7113204"/>
              <a:gd name="connsiteY4" fmla="*/ 4810262 h 5344338"/>
              <a:gd name="connsiteX5" fmla="*/ 0 w 7113204"/>
              <a:gd name="connsiteY5" fmla="*/ 0 h 5344338"/>
              <a:gd name="connsiteX0" fmla="*/ 0 w 7113204"/>
              <a:gd name="connsiteY0" fmla="*/ 453 h 5344791"/>
              <a:gd name="connsiteX1" fmla="*/ 519692 w 7113204"/>
              <a:gd name="connsiteY1" fmla="*/ 0 h 5344791"/>
              <a:gd name="connsiteX2" fmla="*/ 7113204 w 7113204"/>
              <a:gd name="connsiteY2" fmla="*/ 453 h 5344791"/>
              <a:gd name="connsiteX3" fmla="*/ 7113204 w 7113204"/>
              <a:gd name="connsiteY3" fmla="*/ 5343976 h 5344791"/>
              <a:gd name="connsiteX4" fmla="*/ 503508 w 7113204"/>
              <a:gd name="connsiteY4" fmla="*/ 5344791 h 5344791"/>
              <a:gd name="connsiteX5" fmla="*/ 1802 w 7113204"/>
              <a:gd name="connsiteY5" fmla="*/ 4810715 h 5344791"/>
              <a:gd name="connsiteX6" fmla="*/ 0 w 7113204"/>
              <a:gd name="connsiteY6" fmla="*/ 453 h 5344791"/>
              <a:gd name="connsiteX0" fmla="*/ 39320 w 7152524"/>
              <a:gd name="connsiteY0" fmla="*/ 48299 h 5392637"/>
              <a:gd name="connsiteX1" fmla="*/ 559012 w 7152524"/>
              <a:gd name="connsiteY1" fmla="*/ 47846 h 5392637"/>
              <a:gd name="connsiteX2" fmla="*/ 7152524 w 7152524"/>
              <a:gd name="connsiteY2" fmla="*/ 48299 h 5392637"/>
              <a:gd name="connsiteX3" fmla="*/ 7152524 w 7152524"/>
              <a:gd name="connsiteY3" fmla="*/ 5391822 h 5392637"/>
              <a:gd name="connsiteX4" fmla="*/ 542828 w 7152524"/>
              <a:gd name="connsiteY4" fmla="*/ 5392637 h 5392637"/>
              <a:gd name="connsiteX5" fmla="*/ 41122 w 7152524"/>
              <a:gd name="connsiteY5" fmla="*/ 4858561 h 5392637"/>
              <a:gd name="connsiteX6" fmla="*/ 37076 w 7152524"/>
              <a:gd name="connsiteY6" fmla="*/ 496955 h 5392637"/>
              <a:gd name="connsiteX7" fmla="*/ 39320 w 7152524"/>
              <a:gd name="connsiteY7" fmla="*/ 48299 h 5392637"/>
              <a:gd name="connsiteX0" fmla="*/ 155497 w 7270945"/>
              <a:gd name="connsiteY0" fmla="*/ 497244 h 5392926"/>
              <a:gd name="connsiteX1" fmla="*/ 677433 w 7270945"/>
              <a:gd name="connsiteY1" fmla="*/ 48135 h 5392926"/>
              <a:gd name="connsiteX2" fmla="*/ 7270945 w 7270945"/>
              <a:gd name="connsiteY2" fmla="*/ 48588 h 5392926"/>
              <a:gd name="connsiteX3" fmla="*/ 7270945 w 7270945"/>
              <a:gd name="connsiteY3" fmla="*/ 5392111 h 5392926"/>
              <a:gd name="connsiteX4" fmla="*/ 661249 w 7270945"/>
              <a:gd name="connsiteY4" fmla="*/ 5392926 h 5392926"/>
              <a:gd name="connsiteX5" fmla="*/ 159543 w 7270945"/>
              <a:gd name="connsiteY5" fmla="*/ 4858850 h 5392926"/>
              <a:gd name="connsiteX6" fmla="*/ 155497 w 7270945"/>
              <a:gd name="connsiteY6" fmla="*/ 497244 h 5392926"/>
              <a:gd name="connsiteX0" fmla="*/ 155497 w 7270945"/>
              <a:gd name="connsiteY0" fmla="*/ 497244 h 5392926"/>
              <a:gd name="connsiteX1" fmla="*/ 677433 w 7270945"/>
              <a:gd name="connsiteY1" fmla="*/ 48135 h 5392926"/>
              <a:gd name="connsiteX2" fmla="*/ 7270945 w 7270945"/>
              <a:gd name="connsiteY2" fmla="*/ 48588 h 5392926"/>
              <a:gd name="connsiteX3" fmla="*/ 7270945 w 7270945"/>
              <a:gd name="connsiteY3" fmla="*/ 5392111 h 5392926"/>
              <a:gd name="connsiteX4" fmla="*/ 661249 w 7270945"/>
              <a:gd name="connsiteY4" fmla="*/ 5392926 h 5392926"/>
              <a:gd name="connsiteX5" fmla="*/ 159543 w 7270945"/>
              <a:gd name="connsiteY5" fmla="*/ 4858850 h 5392926"/>
              <a:gd name="connsiteX6" fmla="*/ 155497 w 7270945"/>
              <a:gd name="connsiteY6" fmla="*/ 497244 h 5392926"/>
              <a:gd name="connsiteX0" fmla="*/ 155497 w 7270945"/>
              <a:gd name="connsiteY0" fmla="*/ 497244 h 5392926"/>
              <a:gd name="connsiteX1" fmla="*/ 677433 w 7270945"/>
              <a:gd name="connsiteY1" fmla="*/ 48135 h 5392926"/>
              <a:gd name="connsiteX2" fmla="*/ 7270945 w 7270945"/>
              <a:gd name="connsiteY2" fmla="*/ 48588 h 5392926"/>
              <a:gd name="connsiteX3" fmla="*/ 7270945 w 7270945"/>
              <a:gd name="connsiteY3" fmla="*/ 5392111 h 5392926"/>
              <a:gd name="connsiteX4" fmla="*/ 661249 w 7270945"/>
              <a:gd name="connsiteY4" fmla="*/ 5392926 h 5392926"/>
              <a:gd name="connsiteX5" fmla="*/ 159543 w 7270945"/>
              <a:gd name="connsiteY5" fmla="*/ 4858850 h 5392926"/>
              <a:gd name="connsiteX6" fmla="*/ 155497 w 7270945"/>
              <a:gd name="connsiteY6" fmla="*/ 497244 h 5392926"/>
              <a:gd name="connsiteX0" fmla="*/ 155497 w 7270945"/>
              <a:gd name="connsiteY0" fmla="*/ 497244 h 5392926"/>
              <a:gd name="connsiteX1" fmla="*/ 677433 w 7270945"/>
              <a:gd name="connsiteY1" fmla="*/ 48135 h 5392926"/>
              <a:gd name="connsiteX2" fmla="*/ 7270945 w 7270945"/>
              <a:gd name="connsiteY2" fmla="*/ 48588 h 5392926"/>
              <a:gd name="connsiteX3" fmla="*/ 7270945 w 7270945"/>
              <a:gd name="connsiteY3" fmla="*/ 5392111 h 5392926"/>
              <a:gd name="connsiteX4" fmla="*/ 661249 w 7270945"/>
              <a:gd name="connsiteY4" fmla="*/ 5392926 h 5392926"/>
              <a:gd name="connsiteX5" fmla="*/ 159543 w 7270945"/>
              <a:gd name="connsiteY5" fmla="*/ 4858850 h 5392926"/>
              <a:gd name="connsiteX6" fmla="*/ 155497 w 7270945"/>
              <a:gd name="connsiteY6" fmla="*/ 497244 h 5392926"/>
              <a:gd name="connsiteX0" fmla="*/ 184805 w 7300253"/>
              <a:gd name="connsiteY0" fmla="*/ 449109 h 5344791"/>
              <a:gd name="connsiteX1" fmla="*/ 706741 w 7300253"/>
              <a:gd name="connsiteY1" fmla="*/ 0 h 5344791"/>
              <a:gd name="connsiteX2" fmla="*/ 7300253 w 7300253"/>
              <a:gd name="connsiteY2" fmla="*/ 453 h 5344791"/>
              <a:gd name="connsiteX3" fmla="*/ 7300253 w 7300253"/>
              <a:gd name="connsiteY3" fmla="*/ 5343976 h 5344791"/>
              <a:gd name="connsiteX4" fmla="*/ 690557 w 7300253"/>
              <a:gd name="connsiteY4" fmla="*/ 5344791 h 5344791"/>
              <a:gd name="connsiteX5" fmla="*/ 188851 w 7300253"/>
              <a:gd name="connsiteY5" fmla="*/ 4810715 h 5344791"/>
              <a:gd name="connsiteX6" fmla="*/ 184805 w 7300253"/>
              <a:gd name="connsiteY6" fmla="*/ 449109 h 5344791"/>
              <a:gd name="connsiteX0" fmla="*/ 155498 w 7270946"/>
              <a:gd name="connsiteY0" fmla="*/ 497244 h 5392926"/>
              <a:gd name="connsiteX1" fmla="*/ 677434 w 7270946"/>
              <a:gd name="connsiteY1" fmla="*/ 48135 h 5392926"/>
              <a:gd name="connsiteX2" fmla="*/ 7270946 w 7270946"/>
              <a:gd name="connsiteY2" fmla="*/ 48588 h 5392926"/>
              <a:gd name="connsiteX3" fmla="*/ 7270946 w 7270946"/>
              <a:gd name="connsiteY3" fmla="*/ 5392111 h 5392926"/>
              <a:gd name="connsiteX4" fmla="*/ 661250 w 7270946"/>
              <a:gd name="connsiteY4" fmla="*/ 5392926 h 5392926"/>
              <a:gd name="connsiteX5" fmla="*/ 159544 w 7270946"/>
              <a:gd name="connsiteY5" fmla="*/ 4858850 h 5392926"/>
              <a:gd name="connsiteX6" fmla="*/ 155498 w 7270946"/>
              <a:gd name="connsiteY6" fmla="*/ 497244 h 5392926"/>
              <a:gd name="connsiteX0" fmla="*/ 37199 w 7152647"/>
              <a:gd name="connsiteY0" fmla="*/ 527190 h 5422872"/>
              <a:gd name="connsiteX1" fmla="*/ 559135 w 7152647"/>
              <a:gd name="connsiteY1" fmla="*/ 78081 h 5422872"/>
              <a:gd name="connsiteX2" fmla="*/ 7152647 w 7152647"/>
              <a:gd name="connsiteY2" fmla="*/ 78534 h 5422872"/>
              <a:gd name="connsiteX3" fmla="*/ 7152647 w 7152647"/>
              <a:gd name="connsiteY3" fmla="*/ 5422057 h 5422872"/>
              <a:gd name="connsiteX4" fmla="*/ 542951 w 7152647"/>
              <a:gd name="connsiteY4" fmla="*/ 5422872 h 5422872"/>
              <a:gd name="connsiteX5" fmla="*/ 41245 w 7152647"/>
              <a:gd name="connsiteY5" fmla="*/ 4888796 h 5422872"/>
              <a:gd name="connsiteX6" fmla="*/ 37199 w 7152647"/>
              <a:gd name="connsiteY6" fmla="*/ 527190 h 5422872"/>
              <a:gd name="connsiteX0" fmla="*/ 27 w 7115475"/>
              <a:gd name="connsiteY0" fmla="*/ 522980 h 5418662"/>
              <a:gd name="connsiteX1" fmla="*/ 521963 w 7115475"/>
              <a:gd name="connsiteY1" fmla="*/ 73871 h 5418662"/>
              <a:gd name="connsiteX2" fmla="*/ 7115475 w 7115475"/>
              <a:gd name="connsiteY2" fmla="*/ 74324 h 5418662"/>
              <a:gd name="connsiteX3" fmla="*/ 7115475 w 7115475"/>
              <a:gd name="connsiteY3" fmla="*/ 5417847 h 5418662"/>
              <a:gd name="connsiteX4" fmla="*/ 505779 w 7115475"/>
              <a:gd name="connsiteY4" fmla="*/ 5418662 h 5418662"/>
              <a:gd name="connsiteX5" fmla="*/ 4073 w 7115475"/>
              <a:gd name="connsiteY5" fmla="*/ 4884586 h 5418662"/>
              <a:gd name="connsiteX6" fmla="*/ 27 w 7115475"/>
              <a:gd name="connsiteY6" fmla="*/ 522980 h 5418662"/>
              <a:gd name="connsiteX0" fmla="*/ 161 w 7115609"/>
              <a:gd name="connsiteY0" fmla="*/ 449127 h 5344809"/>
              <a:gd name="connsiteX1" fmla="*/ 522097 w 7115609"/>
              <a:gd name="connsiteY1" fmla="*/ 18 h 5344809"/>
              <a:gd name="connsiteX2" fmla="*/ 7115609 w 7115609"/>
              <a:gd name="connsiteY2" fmla="*/ 471 h 5344809"/>
              <a:gd name="connsiteX3" fmla="*/ 7115609 w 7115609"/>
              <a:gd name="connsiteY3" fmla="*/ 5343994 h 5344809"/>
              <a:gd name="connsiteX4" fmla="*/ 505913 w 7115609"/>
              <a:gd name="connsiteY4" fmla="*/ 5344809 h 5344809"/>
              <a:gd name="connsiteX5" fmla="*/ 4207 w 7115609"/>
              <a:gd name="connsiteY5" fmla="*/ 4810733 h 5344809"/>
              <a:gd name="connsiteX6" fmla="*/ 161 w 7115609"/>
              <a:gd name="connsiteY6" fmla="*/ 449127 h 5344809"/>
              <a:gd name="connsiteX0" fmla="*/ 196 w 7115644"/>
              <a:gd name="connsiteY0" fmla="*/ 449124 h 5344806"/>
              <a:gd name="connsiteX1" fmla="*/ 522132 w 7115644"/>
              <a:gd name="connsiteY1" fmla="*/ 15 h 5344806"/>
              <a:gd name="connsiteX2" fmla="*/ 7115644 w 7115644"/>
              <a:gd name="connsiteY2" fmla="*/ 468 h 5344806"/>
              <a:gd name="connsiteX3" fmla="*/ 7115644 w 7115644"/>
              <a:gd name="connsiteY3" fmla="*/ 5343991 h 5344806"/>
              <a:gd name="connsiteX4" fmla="*/ 505948 w 7115644"/>
              <a:gd name="connsiteY4" fmla="*/ 5344806 h 5344806"/>
              <a:gd name="connsiteX5" fmla="*/ 4242 w 7115644"/>
              <a:gd name="connsiteY5" fmla="*/ 4810730 h 5344806"/>
              <a:gd name="connsiteX6" fmla="*/ 196 w 7115644"/>
              <a:gd name="connsiteY6" fmla="*/ 449124 h 5344806"/>
              <a:gd name="connsiteX0" fmla="*/ 196 w 7115644"/>
              <a:gd name="connsiteY0" fmla="*/ 449132 h 5344814"/>
              <a:gd name="connsiteX1" fmla="*/ 522132 w 7115644"/>
              <a:gd name="connsiteY1" fmla="*/ 23 h 5344814"/>
              <a:gd name="connsiteX2" fmla="*/ 7115644 w 7115644"/>
              <a:gd name="connsiteY2" fmla="*/ 476 h 5344814"/>
              <a:gd name="connsiteX3" fmla="*/ 7115644 w 7115644"/>
              <a:gd name="connsiteY3" fmla="*/ 5343999 h 5344814"/>
              <a:gd name="connsiteX4" fmla="*/ 505948 w 7115644"/>
              <a:gd name="connsiteY4" fmla="*/ 5344814 h 5344814"/>
              <a:gd name="connsiteX5" fmla="*/ 4242 w 7115644"/>
              <a:gd name="connsiteY5" fmla="*/ 4810738 h 5344814"/>
              <a:gd name="connsiteX6" fmla="*/ 196 w 7115644"/>
              <a:gd name="connsiteY6" fmla="*/ 449132 h 5344814"/>
              <a:gd name="connsiteX0" fmla="*/ 21 w 7115469"/>
              <a:gd name="connsiteY0" fmla="*/ 449140 h 5344822"/>
              <a:gd name="connsiteX1" fmla="*/ 521957 w 7115469"/>
              <a:gd name="connsiteY1" fmla="*/ 31 h 5344822"/>
              <a:gd name="connsiteX2" fmla="*/ 7115469 w 7115469"/>
              <a:gd name="connsiteY2" fmla="*/ 484 h 5344822"/>
              <a:gd name="connsiteX3" fmla="*/ 7115469 w 7115469"/>
              <a:gd name="connsiteY3" fmla="*/ 5344007 h 5344822"/>
              <a:gd name="connsiteX4" fmla="*/ 505773 w 7115469"/>
              <a:gd name="connsiteY4" fmla="*/ 5344822 h 5344822"/>
              <a:gd name="connsiteX5" fmla="*/ 4067 w 7115469"/>
              <a:gd name="connsiteY5" fmla="*/ 4810746 h 5344822"/>
              <a:gd name="connsiteX6" fmla="*/ 21 w 7115469"/>
              <a:gd name="connsiteY6" fmla="*/ 449140 h 53448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15469" h="5344822">
                <a:moveTo>
                  <a:pt x="21" y="449140"/>
                </a:moveTo>
                <a:cubicBezTo>
                  <a:pt x="-2303" y="101747"/>
                  <a:pt x="197851" y="-2068"/>
                  <a:pt x="521957" y="31"/>
                </a:cubicBezTo>
                <a:lnTo>
                  <a:pt x="7115469" y="484"/>
                </a:lnTo>
                <a:lnTo>
                  <a:pt x="7115469" y="5344007"/>
                </a:lnTo>
                <a:lnTo>
                  <a:pt x="505773" y="5344822"/>
                </a:lnTo>
                <a:cubicBezTo>
                  <a:pt x="180743" y="5344822"/>
                  <a:pt x="1369" y="5166796"/>
                  <a:pt x="4067" y="4810746"/>
                </a:cubicBezTo>
                <a:cubicBezTo>
                  <a:pt x="4741" y="4820187"/>
                  <a:pt x="2345" y="796533"/>
                  <a:pt x="21" y="449140"/>
                </a:cubicBez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 userDrawn="1"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 userDrawn="1">
            <p:ph type="ctrTitle"/>
          </p:nvPr>
        </p:nvSpPr>
        <p:spPr>
          <a:xfrm>
            <a:off x="766800" y="2286000"/>
            <a:ext cx="4141630" cy="1386000"/>
          </a:xfrm>
          <a:noFill/>
        </p:spPr>
        <p:txBody>
          <a:bodyPr lIns="0" tIns="0" rIns="0" anchor="b" anchorCtr="0"/>
          <a:lstStyle>
            <a:lvl1pPr>
              <a:lnSpc>
                <a:spcPct val="110000"/>
              </a:lnSpc>
              <a:defRPr sz="36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766800" y="3805199"/>
            <a:ext cx="4036789" cy="7488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20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04" name="Text Placeholder 3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66800" y="4831200"/>
            <a:ext cx="4043018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Heavy" panose="00000700000000000000" pitchFamily="2" charset="0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6800" y="5083200"/>
            <a:ext cx="4043018" cy="489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Medium" panose="00000600000000000000" pitchFamily="2" charset="0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 userDrawn="1"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69C1E383-03B8-4847-879C-70C0067CEA32}" type="datetime3">
              <a:rPr lang="en-US" noProof="1" smtClean="0"/>
              <a:t>31 March 2025</a:t>
            </a:fld>
            <a:endParaRPr lang="en-GB" noProof="1"/>
          </a:p>
        </p:txBody>
      </p:sp>
      <p:sp>
        <p:nvSpPr>
          <p:cNvPr id="88" name="Rectangle 5"/>
          <p:cNvSpPr>
            <a:spLocks noGrp="1" noChangeArrowheads="1"/>
          </p:cNvSpPr>
          <p:nvPr userDrawn="1"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/S Norske Shell E&amp;P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40" y="517459"/>
            <a:ext cx="1887660" cy="1887660"/>
          </a:xfrm>
          <a:prstGeom prst="rect">
            <a:avLst/>
          </a:prstGeom>
          <a:ln>
            <a:noFill/>
          </a:ln>
        </p:spPr>
      </p:pic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  <a:endParaRPr lang="en-GB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361310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  <p15:guide id="3" orient="horz" pos="2562">
          <p15:clr>
            <a:srgbClr val="FBAE40"/>
          </p15:clr>
        </p15:guide>
        <p15:guide id="4" orient="horz" pos="299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 descr="&lt;ignore&gt;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723" cy="6857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07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66800" y="2754000"/>
            <a:ext cx="9972000" cy="918000"/>
          </a:xfrm>
          <a:noFill/>
        </p:spPr>
        <p:txBody>
          <a:bodyPr lIns="0" tIns="0" rIns="0" anchor="b" anchorCtr="0"/>
          <a:lstStyle>
            <a:lvl1pPr>
              <a:lnSpc>
                <a:spcPct val="100000"/>
              </a:lnSpc>
              <a:defRPr sz="3600" b="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66800" y="3805200"/>
            <a:ext cx="9975600" cy="74880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sz="20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04" name="Text Placeholder 31"/>
          <p:cNvSpPr>
            <a:spLocks noGrp="1"/>
          </p:cNvSpPr>
          <p:nvPr>
            <p:ph type="body" sz="quarter" idx="10" hasCustomPrompt="1"/>
          </p:nvPr>
        </p:nvSpPr>
        <p:spPr>
          <a:xfrm>
            <a:off x="766800" y="4831200"/>
            <a:ext cx="7869600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Heavy" panose="00000700000000000000" pitchFamily="2" charset="0"/>
              </a:defRPr>
            </a:lvl1pPr>
          </a:lstStyle>
          <a:p>
            <a:pPr lvl="0"/>
            <a:r>
              <a:rPr lang="en-GB"/>
              <a:t>Click to insert Author’s Name</a:t>
            </a:r>
          </a:p>
        </p:txBody>
      </p:sp>
      <p:sp>
        <p:nvSpPr>
          <p:cNvPr id="105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766800" y="5083200"/>
            <a:ext cx="7869600" cy="237600"/>
          </a:xfrm>
        </p:spPr>
        <p:txBody>
          <a:bodyPr anchor="t" anchorCtr="0"/>
          <a:lstStyle>
            <a:lvl1pPr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ShellMedium" panose="00000600000000000000" pitchFamily="2" charset="0"/>
              </a:defRPr>
            </a:lvl1pPr>
          </a:lstStyle>
          <a:p>
            <a:pPr lvl="0"/>
            <a:r>
              <a:rPr lang="en-GB" noProof="1"/>
              <a:t>Click to insert Role in Organisation</a:t>
            </a:r>
          </a:p>
        </p:txBody>
      </p:sp>
      <p:sp>
        <p:nvSpPr>
          <p:cNvPr id="9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B796D178-DCAD-4F45-8761-3871F214EC67}" type="datetime3">
              <a:rPr lang="en-US" noProof="1" smtClean="0"/>
              <a:t>31 March 2025</a:t>
            </a:fld>
            <a:endParaRPr lang="en-GB" noProof="1"/>
          </a:p>
        </p:txBody>
      </p:sp>
      <p:sp>
        <p:nvSpPr>
          <p:cNvPr id="8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/S Norske Shell E&amp;P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40" y="517459"/>
            <a:ext cx="1887660" cy="1887660"/>
          </a:xfrm>
          <a:prstGeom prst="rect">
            <a:avLst/>
          </a:prstGeom>
          <a:ln>
            <a:noFill/>
          </a:ln>
        </p:spPr>
      </p:pic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  <a:endParaRPr lang="en-GB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910999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058">
          <p15:clr>
            <a:srgbClr val="FBAE40"/>
          </p15:clr>
        </p15:guide>
        <p15:guide id="2" orient="horz" pos="223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765174" y="1665288"/>
            <a:ext cx="10914063" cy="4694236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F0A07342-BDD5-456C-AFF8-389DF93D08FE}" type="datetime3">
              <a:rPr lang="en-US" noProof="1" smtClean="0"/>
              <a:t>31 March 2025</a:t>
            </a:fld>
            <a:endParaRPr lang="en-GB" noProof="1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/S Norske Shell E&amp;P</a:t>
            </a:r>
          </a:p>
        </p:txBody>
      </p:sp>
    </p:spTree>
    <p:extLst>
      <p:ext uri="{BB962C8B-B14F-4D97-AF65-F5344CB8AC3E}">
        <p14:creationId xmlns:p14="http://schemas.microsoft.com/office/powerpoint/2010/main" val="387909045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30" r="49252"/>
          <a:stretch/>
        </p:blipFill>
        <p:spPr>
          <a:xfrm>
            <a:off x="8571903" y="-8626"/>
            <a:ext cx="3620097" cy="6824568"/>
          </a:xfrm>
          <a:prstGeom prst="rect">
            <a:avLst/>
          </a:prstGeom>
        </p:spPr>
      </p:pic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765174" y="1665288"/>
            <a:ext cx="10914063" cy="4694236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00953B20-4B5D-48A7-BAD4-2B6487D841EF}" type="datetime3">
              <a:rPr lang="en-US" noProof="1" smtClean="0"/>
              <a:t>31 March 2025</a:t>
            </a:fld>
            <a:endParaRPr lang="en-GB" noProof="1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/S Norske Shell E&amp;P</a:t>
            </a:r>
          </a:p>
        </p:txBody>
      </p:sp>
    </p:spTree>
    <p:extLst>
      <p:ext uri="{BB962C8B-B14F-4D97-AF65-F5344CB8AC3E}">
        <p14:creationId xmlns:p14="http://schemas.microsoft.com/office/powerpoint/2010/main" val="203681133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 descr="&lt;ignore&gt;"/>
          <p:cNvSpPr>
            <a:spLocks noGrp="1"/>
          </p:cNvSpPr>
          <p:nvPr>
            <p:ph type="pic" sz="quarter" idx="12"/>
          </p:nvPr>
        </p:nvSpPr>
        <p:spPr bwMode="auto">
          <a:xfrm>
            <a:off x="-2381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765174" y="1665288"/>
            <a:ext cx="5211763" cy="4694236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8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8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8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6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B1ED0740-F047-4FAD-AAB2-83A065A0F9B0}" type="datetime3">
              <a:rPr lang="en-US" noProof="1" smtClean="0"/>
              <a:t>31 March 2025</a:t>
            </a:fld>
            <a:endParaRPr lang="en-GB" noProof="1"/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/S Norske Shell E&amp;P</a:t>
            </a:r>
          </a:p>
        </p:txBody>
      </p:sp>
    </p:spTree>
    <p:extLst>
      <p:ext uri="{BB962C8B-B14F-4D97-AF65-F5344CB8AC3E}">
        <p14:creationId xmlns:p14="http://schemas.microsoft.com/office/powerpoint/2010/main" val="332752650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813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799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765174" y="1686556"/>
            <a:ext cx="10914063" cy="4672967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176400" indent="-176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354200" indent="-1778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400"/>
            </a:lvl3pPr>
            <a:lvl4pPr marL="532000" indent="-1778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4pPr>
            <a:lvl5pPr marL="684400" indent="-1524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tabLst/>
              <a:defRPr sz="1100"/>
            </a:lvl5pPr>
            <a:lvl6pPr marL="824100" indent="-1397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0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459483A7-7202-4D34-8415-4EFD6CC48D57}" type="datetime3">
              <a:rPr lang="en-US" noProof="1" smtClean="0"/>
              <a:t>31 March 2025</a:t>
            </a:fld>
            <a:endParaRPr lang="en-GB" noProof="1"/>
          </a:p>
        </p:txBody>
      </p:sp>
      <p:sp>
        <p:nvSpPr>
          <p:cNvPr id="1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/S Norske Shell E&amp;P</a:t>
            </a:r>
          </a:p>
        </p:txBody>
      </p:sp>
    </p:spTree>
    <p:extLst>
      <p:ext uri="{BB962C8B-B14F-4D97-AF65-F5344CB8AC3E}">
        <p14:creationId xmlns:p14="http://schemas.microsoft.com/office/powerpoint/2010/main" val="3355361140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200"/>
            </a:lvl1pPr>
          </a:lstStyle>
          <a:p>
            <a:r>
              <a:rPr lang="en-US" sz="1000" dirty="0"/>
              <a:t>24.03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/>
            </a:lvl1pPr>
          </a:lstStyle>
          <a:p>
            <a:r>
              <a:rPr lang="en-US" dirty="0"/>
              <a:t>The FORCE Integrated Reservoir Modelling Group presents Cake &amp; Discus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929422-49FF-454F-8FF9-B363F50C5138}" type="slidenum">
              <a:rPr lang="en-US" smtClean="0"/>
              <a:t>‹#›</a:t>
            </a:fld>
            <a:endParaRPr lang="en-US"/>
          </a:p>
        </p:txBody>
      </p:sp>
      <p:pic>
        <p:nvPicPr>
          <p:cNvPr id="24" name="Picture 23" descr="RedHashing.emf"/>
          <p:cNvPicPr>
            <a:picLocks/>
          </p:cNvPicPr>
          <p:nvPr/>
        </p:nvPicPr>
        <p:blipFill rotWithShape="1"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5" r="15828" b="36435"/>
          <a:stretch/>
        </p:blipFill>
        <p:spPr>
          <a:xfrm>
            <a:off x="1125460" y="643464"/>
            <a:ext cx="9610344" cy="15544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4653E8E4-407E-D821-FEC2-E879108631C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797989" y="-115544"/>
            <a:ext cx="1333500" cy="1333500"/>
            <a:chOff x="344845" y="1271954"/>
            <a:chExt cx="3730426" cy="3730426"/>
          </a:xfrm>
        </p:grpSpPr>
        <p:pic>
          <p:nvPicPr>
            <p:cNvPr id="8" name="Graphic 7" descr="Meeting outline">
              <a:extLst>
                <a:ext uri="{FF2B5EF4-FFF2-40B4-BE49-F238E27FC236}">
                  <a16:creationId xmlns:a16="http://schemas.microsoft.com/office/drawing/2014/main" id="{2A657261-5F69-84BF-A7B0-6525D82BEDD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44845" y="1271954"/>
              <a:ext cx="3730426" cy="3730426"/>
            </a:xfrm>
            <a:prstGeom prst="rect">
              <a:avLst/>
            </a:prstGeom>
          </p:spPr>
        </p:pic>
        <p:pic>
          <p:nvPicPr>
            <p:cNvPr id="9" name="Graphic 8" descr="Cupcake outline">
              <a:extLst>
                <a:ext uri="{FF2B5EF4-FFF2-40B4-BE49-F238E27FC236}">
                  <a16:creationId xmlns:a16="http://schemas.microsoft.com/office/drawing/2014/main" id="{835F9518-1CCE-BA63-5CB7-709D4FFBC22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10058" y="3494698"/>
              <a:ext cx="774636" cy="774636"/>
            </a:xfrm>
            <a:prstGeom prst="rect">
              <a:avLst/>
            </a:prstGeom>
          </p:spPr>
        </p:pic>
        <p:pic>
          <p:nvPicPr>
            <p:cNvPr id="10" name="Content Placeholder 6" descr="Cake slice with solid fill">
              <a:extLst>
                <a:ext uri="{FF2B5EF4-FFF2-40B4-BE49-F238E27FC236}">
                  <a16:creationId xmlns:a16="http://schemas.microsoft.com/office/drawing/2014/main" id="{CEBC7141-F379-05EC-7608-48F6FD9C2B9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95658" y="3474164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8015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31323" r="30139"/>
          <a:stretch/>
        </p:blipFill>
        <p:spPr>
          <a:xfrm>
            <a:off x="9440005" y="0"/>
            <a:ext cx="2764695" cy="2717799"/>
          </a:xfrm>
          <a:prstGeom prst="rect">
            <a:avLst/>
          </a:prstGeom>
        </p:spPr>
      </p:pic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472014" y="1665288"/>
            <a:ext cx="5207223" cy="4694237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75000"/>
              <a:buFont typeface="Wingdings" panose="05000000000000000000" pitchFamily="2" charset="2"/>
              <a:buChar char="¢"/>
              <a:defRPr sz="1800"/>
            </a:lvl2pPr>
            <a:lvl3pPr marL="459000" indent="-22860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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765174" y="1665286"/>
            <a:ext cx="5211763" cy="4694239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75000"/>
              <a:buFont typeface="Wingdings" panose="05000000000000000000" pitchFamily="2" charset="2"/>
              <a:buChar char=""/>
              <a:defRPr sz="1800"/>
            </a:lvl2pPr>
            <a:lvl3pPr marL="459000" indent="-228600"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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8F3EEBD6-BB40-4F93-8B3C-E69EB30CBA92}" type="datetime3">
              <a:rPr lang="en-US" noProof="1" smtClean="0"/>
              <a:t>31 March 2025</a:t>
            </a:fld>
            <a:endParaRPr lang="en-GB" noProof="1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/S Norske Shell E&amp;P</a:t>
            </a:r>
          </a:p>
        </p:txBody>
      </p:sp>
    </p:spTree>
    <p:extLst>
      <p:ext uri="{BB962C8B-B14F-4D97-AF65-F5344CB8AC3E}">
        <p14:creationId xmlns:p14="http://schemas.microsoft.com/office/powerpoint/2010/main" val="191848566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Hig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2400" dirty="0" smtClean="0">
                <a:latin typeface="+mj-lt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3"/>
          </p:nvPr>
        </p:nvSpPr>
        <p:spPr>
          <a:xfrm>
            <a:off x="6472014" y="1686556"/>
            <a:ext cx="5207224" cy="4672970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5000"/>
              <a:buFont typeface="Wingdings" panose="05000000000000000000" pitchFamily="2" charset="2"/>
              <a:buChar char="¢"/>
              <a:defRPr sz="1400"/>
            </a:lvl2pPr>
            <a:lvl3pPr marL="3542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"/>
              <a:defRPr sz="1400"/>
            </a:lvl3pPr>
            <a:lvl4pPr marL="532000" indent="-1778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tabLst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765174" y="1686554"/>
            <a:ext cx="5211763" cy="4672971"/>
          </a:xfrm>
        </p:spPr>
        <p:txBody>
          <a:bodyPr/>
          <a:lstStyle>
            <a:lvl1pPr marL="0" indent="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400"/>
            </a:lvl1pPr>
            <a:lvl2pPr marL="176400" indent="-1764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SzPct val="75000"/>
              <a:buFont typeface="Wingdings" panose="05000000000000000000" pitchFamily="2" charset="2"/>
              <a:buChar char="¢"/>
              <a:defRPr sz="1400"/>
            </a:lvl2pPr>
            <a:lvl3pPr marL="354200" indent="-177800">
              <a:lnSpc>
                <a:spcPct val="140000"/>
              </a:lnSpc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"/>
              <a:defRPr sz="1400"/>
            </a:lvl3pPr>
            <a:lvl4pPr marL="532000" indent="-177800">
              <a:lnSpc>
                <a:spcPct val="140000"/>
              </a:lnSpc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400"/>
            </a:lvl4pPr>
            <a:lvl5pPr marL="684400" indent="-1524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200"/>
            </a:lvl5pPr>
            <a:lvl6pPr marL="824100" indent="-1397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1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61F97C04-600E-4B81-A967-484183867DC1}" type="datetime3">
              <a:rPr lang="en-US" noProof="1" smtClean="0"/>
              <a:t>31 March 2025</a:t>
            </a:fld>
            <a:endParaRPr lang="en-GB" noProof="1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/S Norske Shell E&amp;P</a:t>
            </a:r>
          </a:p>
        </p:txBody>
      </p:sp>
    </p:spTree>
    <p:extLst>
      <p:ext uri="{BB962C8B-B14F-4D97-AF65-F5344CB8AC3E}">
        <p14:creationId xmlns:p14="http://schemas.microsoft.com/office/powerpoint/2010/main" val="1901009216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5047384" y="0"/>
            <a:ext cx="7144616" cy="6857999"/>
          </a:xfrm>
          <a:custGeom>
            <a:avLst/>
            <a:gdLst>
              <a:gd name="connsiteX0" fmla="*/ 0 w 7141676"/>
              <a:gd name="connsiteY0" fmla="*/ 0 h 6316132"/>
              <a:gd name="connsiteX1" fmla="*/ 7141676 w 7141676"/>
              <a:gd name="connsiteY1" fmla="*/ 0 h 6316132"/>
              <a:gd name="connsiteX2" fmla="*/ 7141676 w 7141676"/>
              <a:gd name="connsiteY2" fmla="*/ 6316132 h 6316132"/>
              <a:gd name="connsiteX3" fmla="*/ 0 w 7141676"/>
              <a:gd name="connsiteY3" fmla="*/ 6316132 h 6316132"/>
              <a:gd name="connsiteX4" fmla="*/ 0 w 7141676"/>
              <a:gd name="connsiteY4" fmla="*/ 0 h 6316132"/>
              <a:gd name="connsiteX0" fmla="*/ 2940 w 7144616"/>
              <a:gd name="connsiteY0" fmla="*/ 0 h 6316132"/>
              <a:gd name="connsiteX1" fmla="*/ 7144616 w 7144616"/>
              <a:gd name="connsiteY1" fmla="*/ 0 h 6316132"/>
              <a:gd name="connsiteX2" fmla="*/ 7144616 w 7144616"/>
              <a:gd name="connsiteY2" fmla="*/ 6316132 h 6316132"/>
              <a:gd name="connsiteX3" fmla="*/ 2940 w 7144616"/>
              <a:gd name="connsiteY3" fmla="*/ 6316132 h 6316132"/>
              <a:gd name="connsiteX4" fmla="*/ 0 w 7144616"/>
              <a:gd name="connsiteY4" fmla="*/ 5779942 h 6316132"/>
              <a:gd name="connsiteX5" fmla="*/ 2940 w 7144616"/>
              <a:gd name="connsiteY5" fmla="*/ 0 h 6316132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2940 w 7144616"/>
              <a:gd name="connsiteY4" fmla="*/ 6316132 h 6316773"/>
              <a:gd name="connsiteX5" fmla="*/ 0 w 7144616"/>
              <a:gd name="connsiteY5" fmla="*/ 5779942 h 6316773"/>
              <a:gd name="connsiteX6" fmla="*/ 2940 w 7144616"/>
              <a:gd name="connsiteY6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7008"/>
              <a:gd name="connsiteX1" fmla="*/ 7144616 w 7144616"/>
              <a:gd name="connsiteY1" fmla="*/ 0 h 6317008"/>
              <a:gd name="connsiteX2" fmla="*/ 7144616 w 7144616"/>
              <a:gd name="connsiteY2" fmla="*/ 6316132 h 6317008"/>
              <a:gd name="connsiteX3" fmla="*/ 537870 w 7144616"/>
              <a:gd name="connsiteY3" fmla="*/ 6316773 h 6317008"/>
              <a:gd name="connsiteX4" fmla="*/ 0 w 7144616"/>
              <a:gd name="connsiteY4" fmla="*/ 5779942 h 6317008"/>
              <a:gd name="connsiteX5" fmla="*/ 2940 w 7144616"/>
              <a:gd name="connsiteY5" fmla="*/ 0 h 6317008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  <a:gd name="connsiteX0" fmla="*/ 2940 w 7144616"/>
              <a:gd name="connsiteY0" fmla="*/ 0 h 6316773"/>
              <a:gd name="connsiteX1" fmla="*/ 7144616 w 7144616"/>
              <a:gd name="connsiteY1" fmla="*/ 0 h 6316773"/>
              <a:gd name="connsiteX2" fmla="*/ 7144616 w 7144616"/>
              <a:gd name="connsiteY2" fmla="*/ 6316132 h 6316773"/>
              <a:gd name="connsiteX3" fmla="*/ 537870 w 7144616"/>
              <a:gd name="connsiteY3" fmla="*/ 6316773 h 6316773"/>
              <a:gd name="connsiteX4" fmla="*/ 0 w 7144616"/>
              <a:gd name="connsiteY4" fmla="*/ 5779942 h 6316773"/>
              <a:gd name="connsiteX5" fmla="*/ 2940 w 7144616"/>
              <a:gd name="connsiteY5" fmla="*/ 0 h 6316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44616" h="6316773">
                <a:moveTo>
                  <a:pt x="2940" y="0"/>
                </a:moveTo>
                <a:lnTo>
                  <a:pt x="7144616" y="0"/>
                </a:lnTo>
                <a:lnTo>
                  <a:pt x="7144616" y="6316132"/>
                </a:lnTo>
                <a:lnTo>
                  <a:pt x="537870" y="6316773"/>
                </a:lnTo>
                <a:cubicBezTo>
                  <a:pt x="214457" y="6313295"/>
                  <a:pt x="5024" y="6140981"/>
                  <a:pt x="0" y="5779942"/>
                </a:cubicBezTo>
                <a:lnTo>
                  <a:pt x="2940" y="0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4425244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2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765175" y="1665286"/>
            <a:ext cx="3829404" cy="4694239"/>
          </a:xfrm>
        </p:spPr>
        <p:txBody>
          <a:bodyPr/>
          <a:lstStyle>
            <a:lvl1pPr marL="0" indent="0">
              <a:spcAft>
                <a:spcPts val="0"/>
              </a:spcAft>
              <a:buClr>
                <a:schemeClr val="accent2"/>
              </a:buClr>
              <a:buSzPct val="85000"/>
              <a:buFont typeface="Wingdings" pitchFamily="2" charset="2"/>
              <a:buNone/>
              <a:defRPr sz="1800"/>
            </a:lvl1pPr>
            <a:lvl2pPr marL="230400" indent="-230400">
              <a:spcAft>
                <a:spcPts val="0"/>
              </a:spcAft>
              <a:buClr>
                <a:schemeClr val="accent2"/>
              </a:buClr>
              <a:buSzPct val="75000"/>
              <a:buFont typeface="Wingdings" panose="05000000000000000000" pitchFamily="2" charset="2"/>
              <a:buChar char=""/>
              <a:defRPr sz="1800"/>
            </a:lvl2pPr>
            <a:lvl3pPr marL="459000" indent="-228600"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"/>
              <a:defRPr sz="1800"/>
            </a:lvl3pPr>
            <a:lvl4pPr marL="687600" indent="-2286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800"/>
            </a:lvl4pPr>
            <a:lvl5pPr marL="890800" indent="-2032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600"/>
            </a:lvl5pPr>
            <a:lvl6pPr marL="1043200" indent="-15240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"/>
              <a:defRPr sz="120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74FCC0AB-8E20-4847-A460-A1BD4BBEAD77}" type="datetime3">
              <a:rPr lang="en-US" noProof="1" smtClean="0"/>
              <a:t>31 March 2025</a:t>
            </a:fld>
            <a:endParaRPr lang="en-GB" noProof="1"/>
          </a:p>
        </p:txBody>
      </p:sp>
      <p:sp>
        <p:nvSpPr>
          <p:cNvPr id="1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/S Norske Shell E&amp;P</a:t>
            </a:r>
          </a:p>
        </p:txBody>
      </p:sp>
    </p:spTree>
    <p:extLst>
      <p:ext uri="{BB962C8B-B14F-4D97-AF65-F5344CB8AC3E}">
        <p14:creationId xmlns:p14="http://schemas.microsoft.com/office/powerpoint/2010/main" val="173116165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765">
          <p15:clr>
            <a:srgbClr val="FBAE40"/>
          </p15:clr>
        </p15:guide>
        <p15:guide id="3" pos="3915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>
                <a:latin typeface="+mj-lt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4116538"/>
            <a:ext cx="5468938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sp>
        <p:nvSpPr>
          <p:cNvPr id="42" name="Chart Placeholder 16"/>
          <p:cNvSpPr>
            <a:spLocks noGrp="1"/>
          </p:cNvSpPr>
          <p:nvPr>
            <p:ph type="chart" sz="quarter" idx="47"/>
          </p:nvPr>
        </p:nvSpPr>
        <p:spPr>
          <a:xfrm>
            <a:off x="508000" y="4456229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780690"/>
            <a:ext cx="5468938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4116538"/>
            <a:ext cx="5464175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sp>
        <p:nvSpPr>
          <p:cNvPr id="107" name="Chart Placeholder 16"/>
          <p:cNvSpPr>
            <a:spLocks noGrp="1"/>
          </p:cNvSpPr>
          <p:nvPr>
            <p:ph type="chart" sz="quarter" idx="59"/>
          </p:nvPr>
        </p:nvSpPr>
        <p:spPr>
          <a:xfrm>
            <a:off x="6215063" y="4456229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780690"/>
            <a:ext cx="5464175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46310CD1-8BC5-4FB6-BE49-4BA9E4A96336}" type="datetime3">
              <a:rPr lang="en-US" noProof="1" smtClean="0"/>
              <a:t>31 March 2025</a:t>
            </a:fld>
            <a:endParaRPr lang="en-GB" noProof="1"/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/S Norske Shell E&amp;P</a:t>
            </a:r>
          </a:p>
        </p:txBody>
      </p:sp>
    </p:spTree>
    <p:extLst>
      <p:ext uri="{BB962C8B-B14F-4D97-AF65-F5344CB8AC3E}">
        <p14:creationId xmlns:p14="http://schemas.microsoft.com/office/powerpoint/2010/main" val="3445817018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Graph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>
                <a:latin typeface="+mj-lt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8000" y="4116538"/>
            <a:ext cx="5468938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Subtitle appears he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8000" y="1780690"/>
            <a:ext cx="5468938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8000" y="2120382"/>
            <a:ext cx="5468938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15063" y="4116538"/>
            <a:ext cx="5464175" cy="234616"/>
          </a:xfr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Subtitle appears he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15063" y="1780690"/>
            <a:ext cx="5464175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15063" y="2120382"/>
            <a:ext cx="54641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0E9DE15E-08A0-4282-AC95-D93C123E2073}" type="datetime3">
              <a:rPr lang="en-US" noProof="1" smtClean="0"/>
              <a:t>31 March 2025</a:t>
            </a:fld>
            <a:endParaRPr lang="en-GB" noProof="1"/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/S Norske Shell E&amp;P</a:t>
            </a:r>
          </a:p>
        </p:txBody>
      </p:sp>
      <p:sp>
        <p:nvSpPr>
          <p:cNvPr id="19" name="Content Placeholder 9"/>
          <p:cNvSpPr>
            <a:spLocks noGrp="1"/>
          </p:cNvSpPr>
          <p:nvPr>
            <p:ph sz="quarter" idx="11"/>
          </p:nvPr>
        </p:nvSpPr>
        <p:spPr>
          <a:xfrm>
            <a:off x="509312" y="4510882"/>
            <a:ext cx="5467626" cy="1568988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4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1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05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Content Placeholder 9"/>
          <p:cNvSpPr>
            <a:spLocks noGrp="1"/>
          </p:cNvSpPr>
          <p:nvPr>
            <p:ph sz="quarter" idx="63"/>
          </p:nvPr>
        </p:nvSpPr>
        <p:spPr>
          <a:xfrm>
            <a:off x="6215063" y="4510882"/>
            <a:ext cx="5467626" cy="1568988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4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1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05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8775003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ontent Placeholder 51"/>
          <p:cNvSpPr>
            <a:spLocks noGrp="1"/>
          </p:cNvSpPr>
          <p:nvPr>
            <p:ph sz="quarter" idx="29" hasCustomPrompt="1"/>
          </p:nvPr>
        </p:nvSpPr>
        <p:spPr>
          <a:xfrm>
            <a:off x="509312" y="6201069"/>
            <a:ext cx="5543051" cy="158455"/>
          </a:xfrm>
        </p:spPr>
        <p:txBody>
          <a:bodyPr wrap="square">
            <a:noAutofit/>
          </a:bodyPr>
          <a:lstStyle>
            <a:lvl1pPr>
              <a:defRPr sz="9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source</a:t>
            </a:r>
          </a:p>
        </p:txBody>
      </p:sp>
      <p:sp>
        <p:nvSpPr>
          <p:cNvPr id="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7" cy="75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noProof="0" dirty="0" smtClean="0">
                <a:latin typeface="+mj-lt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40" name="Content Placeholder 51"/>
          <p:cNvSpPr>
            <a:spLocks noGrp="1"/>
          </p:cNvSpPr>
          <p:nvPr>
            <p:ph sz="quarter" idx="46" hasCustomPrompt="1"/>
          </p:nvPr>
        </p:nvSpPr>
        <p:spPr>
          <a:xfrm>
            <a:off x="507999" y="4116538"/>
            <a:ext cx="2606675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Subtitle appears here</a:t>
            </a:r>
          </a:p>
        </p:txBody>
      </p:sp>
      <p:sp>
        <p:nvSpPr>
          <p:cNvPr id="100" name="Content Placeholder 51"/>
          <p:cNvSpPr>
            <a:spLocks noGrp="1"/>
          </p:cNvSpPr>
          <p:nvPr>
            <p:ph sz="quarter" idx="55" hasCustomPrompt="1"/>
          </p:nvPr>
        </p:nvSpPr>
        <p:spPr>
          <a:xfrm>
            <a:off x="507999" y="1780690"/>
            <a:ext cx="2606675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sp>
        <p:nvSpPr>
          <p:cNvPr id="102" name="Chart Placeholder 16"/>
          <p:cNvSpPr>
            <a:spLocks noGrp="1"/>
          </p:cNvSpPr>
          <p:nvPr>
            <p:ph type="chart" sz="quarter" idx="56"/>
          </p:nvPr>
        </p:nvSpPr>
        <p:spPr>
          <a:xfrm>
            <a:off x="507999" y="2120382"/>
            <a:ext cx="26066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05" name="Content Placeholder 51"/>
          <p:cNvSpPr>
            <a:spLocks noGrp="1"/>
          </p:cNvSpPr>
          <p:nvPr>
            <p:ph sz="quarter" idx="58" hasCustomPrompt="1"/>
          </p:nvPr>
        </p:nvSpPr>
        <p:spPr>
          <a:xfrm>
            <a:off x="6235536" y="4116538"/>
            <a:ext cx="2606400" cy="234616"/>
          </a:xfr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Subtitle appears here</a:t>
            </a:r>
          </a:p>
        </p:txBody>
      </p:sp>
      <p:sp>
        <p:nvSpPr>
          <p:cNvPr id="110" name="Content Placeholder 51"/>
          <p:cNvSpPr>
            <a:spLocks noGrp="1"/>
          </p:cNvSpPr>
          <p:nvPr>
            <p:ph sz="quarter" idx="61" hasCustomPrompt="1"/>
          </p:nvPr>
        </p:nvSpPr>
        <p:spPr>
          <a:xfrm>
            <a:off x="6235536" y="1780690"/>
            <a:ext cx="2606400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sp>
        <p:nvSpPr>
          <p:cNvPr id="112" name="Chart Placeholder 16"/>
          <p:cNvSpPr>
            <a:spLocks noGrp="1"/>
          </p:cNvSpPr>
          <p:nvPr>
            <p:ph type="chart" sz="quarter" idx="62"/>
          </p:nvPr>
        </p:nvSpPr>
        <p:spPr>
          <a:xfrm>
            <a:off x="6235536" y="2120382"/>
            <a:ext cx="2606400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29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A66C762C-E143-4B26-A796-AE49406237C5}" type="datetime3">
              <a:rPr lang="en-US" noProof="1" smtClean="0"/>
              <a:t>31 March 2025</a:t>
            </a:fld>
            <a:endParaRPr lang="en-GB" noProof="1"/>
          </a:p>
        </p:txBody>
      </p:sp>
      <p:sp>
        <p:nvSpPr>
          <p:cNvPr id="36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/S Norske Shell E&amp;P</a:t>
            </a:r>
          </a:p>
        </p:txBody>
      </p:sp>
      <p:sp>
        <p:nvSpPr>
          <p:cNvPr id="19" name="Content Placeholder 9"/>
          <p:cNvSpPr>
            <a:spLocks noGrp="1"/>
          </p:cNvSpPr>
          <p:nvPr>
            <p:ph sz="quarter" idx="11"/>
          </p:nvPr>
        </p:nvSpPr>
        <p:spPr>
          <a:xfrm>
            <a:off x="509312" y="4510882"/>
            <a:ext cx="2606050" cy="1568988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4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1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05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Content Placeholder 9"/>
          <p:cNvSpPr>
            <a:spLocks noGrp="1"/>
          </p:cNvSpPr>
          <p:nvPr>
            <p:ph sz="quarter" idx="63"/>
          </p:nvPr>
        </p:nvSpPr>
        <p:spPr>
          <a:xfrm>
            <a:off x="6235534" y="4510882"/>
            <a:ext cx="2608046" cy="1568988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4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1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05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Content Placeholder 51"/>
          <p:cNvSpPr>
            <a:spLocks noGrp="1"/>
          </p:cNvSpPr>
          <p:nvPr>
            <p:ph sz="quarter" idx="64" hasCustomPrompt="1"/>
          </p:nvPr>
        </p:nvSpPr>
        <p:spPr>
          <a:xfrm>
            <a:off x="3369575" y="4116538"/>
            <a:ext cx="2606675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Subtitle appears here</a:t>
            </a:r>
          </a:p>
        </p:txBody>
      </p:sp>
      <p:sp>
        <p:nvSpPr>
          <p:cNvPr id="22" name="Content Placeholder 51"/>
          <p:cNvSpPr>
            <a:spLocks noGrp="1"/>
          </p:cNvSpPr>
          <p:nvPr>
            <p:ph sz="quarter" idx="65" hasCustomPrompt="1"/>
          </p:nvPr>
        </p:nvSpPr>
        <p:spPr>
          <a:xfrm>
            <a:off x="3369575" y="1780690"/>
            <a:ext cx="2606675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sp>
        <p:nvSpPr>
          <p:cNvPr id="23" name="Chart Placeholder 16"/>
          <p:cNvSpPr>
            <a:spLocks noGrp="1"/>
          </p:cNvSpPr>
          <p:nvPr>
            <p:ph type="chart" sz="quarter" idx="66"/>
          </p:nvPr>
        </p:nvSpPr>
        <p:spPr>
          <a:xfrm>
            <a:off x="3369575" y="2120382"/>
            <a:ext cx="2606675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24" name="Content Placeholder 9"/>
          <p:cNvSpPr>
            <a:spLocks noGrp="1"/>
          </p:cNvSpPr>
          <p:nvPr>
            <p:ph sz="quarter" idx="67"/>
          </p:nvPr>
        </p:nvSpPr>
        <p:spPr>
          <a:xfrm>
            <a:off x="3370888" y="4510882"/>
            <a:ext cx="2606050" cy="1568988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4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1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05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7" name="Content Placeholder 51"/>
          <p:cNvSpPr>
            <a:spLocks noGrp="1"/>
          </p:cNvSpPr>
          <p:nvPr>
            <p:ph sz="quarter" idx="68" hasCustomPrompt="1"/>
          </p:nvPr>
        </p:nvSpPr>
        <p:spPr>
          <a:xfrm>
            <a:off x="9071193" y="4116538"/>
            <a:ext cx="2606400" cy="234616"/>
          </a:xfrm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Subtitle appears here</a:t>
            </a:r>
          </a:p>
        </p:txBody>
      </p:sp>
      <p:sp>
        <p:nvSpPr>
          <p:cNvPr id="48" name="Content Placeholder 51"/>
          <p:cNvSpPr>
            <a:spLocks noGrp="1"/>
          </p:cNvSpPr>
          <p:nvPr>
            <p:ph sz="quarter" idx="69" hasCustomPrompt="1"/>
          </p:nvPr>
        </p:nvSpPr>
        <p:spPr>
          <a:xfrm>
            <a:off x="9071193" y="1780690"/>
            <a:ext cx="2606400" cy="23461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nl-NL" sz="1400" kern="1200" cap="none" baseline="0" dirty="0">
                <a:solidFill>
                  <a:schemeClr val="tx1"/>
                </a:solidFill>
                <a:latin typeface="ShellHeavy" panose="000007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1219170" rtl="0" eaLnBrk="1" latinLnBrk="0" hangingPunct="1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Clr>
                <a:srgbClr val="F7D117"/>
              </a:buClr>
              <a:buSzPct val="120000"/>
              <a:buFont typeface="Wingdings" pitchFamily="2" charset="2"/>
              <a:buNone/>
            </a:pPr>
            <a:r>
              <a:rPr lang="en-GB"/>
              <a:t>Chart title appears here</a:t>
            </a:r>
          </a:p>
        </p:txBody>
      </p:sp>
      <p:sp>
        <p:nvSpPr>
          <p:cNvPr id="49" name="Chart Placeholder 16"/>
          <p:cNvSpPr>
            <a:spLocks noGrp="1"/>
          </p:cNvSpPr>
          <p:nvPr>
            <p:ph type="chart" sz="quarter" idx="70"/>
          </p:nvPr>
        </p:nvSpPr>
        <p:spPr>
          <a:xfrm>
            <a:off x="9071193" y="2120382"/>
            <a:ext cx="2606400" cy="1623641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50" name="Content Placeholder 9"/>
          <p:cNvSpPr>
            <a:spLocks noGrp="1"/>
          </p:cNvSpPr>
          <p:nvPr>
            <p:ph sz="quarter" idx="71"/>
          </p:nvPr>
        </p:nvSpPr>
        <p:spPr>
          <a:xfrm>
            <a:off x="9071191" y="4510882"/>
            <a:ext cx="2608046" cy="1568988"/>
          </a:xfrm>
        </p:spPr>
        <p:txBody>
          <a:bodyPr/>
          <a:lstStyle>
            <a:lvl1pPr marL="0" indent="0" defTabSz="357708">
              <a:lnSpc>
                <a:spcPct val="140000"/>
              </a:lnSpc>
              <a:spcBef>
                <a:spcPts val="0"/>
              </a:spcBef>
              <a:defRPr sz="1400"/>
            </a:lvl1pPr>
            <a:lvl2pPr marL="230400" indent="-230400" defTabSz="357708">
              <a:lnSpc>
                <a:spcPct val="140000"/>
              </a:lnSpc>
              <a:spcBef>
                <a:spcPts val="0"/>
              </a:spcBef>
              <a:defRPr sz="1400"/>
            </a:lvl2pPr>
            <a:lvl3pPr marL="459000" indent="-228600" defTabSz="357708">
              <a:lnSpc>
                <a:spcPct val="140000"/>
              </a:lnSpc>
              <a:spcBef>
                <a:spcPts val="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"/>
              <a:defRPr sz="1400"/>
            </a:lvl3pPr>
            <a:lvl4pPr marL="687600" indent="-2286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200"/>
            </a:lvl4pPr>
            <a:lvl5pPr marL="890800" indent="-203200" defTabSz="357708">
              <a:lnSpc>
                <a:spcPct val="14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100"/>
            </a:lvl5pPr>
            <a:lvl6pPr marL="1043200" indent="-152400" defTabSz="357708">
              <a:lnSpc>
                <a:spcPct val="140000"/>
              </a:lnSpc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050"/>
            </a:lvl6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3937763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" name="Picture 10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58" t="3243" r="26982"/>
          <a:stretch/>
        </p:blipFill>
        <p:spPr>
          <a:xfrm flipH="1">
            <a:off x="0" y="0"/>
            <a:ext cx="8067404" cy="6858000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601520" y="4826000"/>
            <a:ext cx="4077539" cy="89596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7601520" y="3258524"/>
            <a:ext cx="4077539" cy="1508861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3200" b="0" cap="none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619994" y="1908483"/>
            <a:ext cx="2724653" cy="1123888"/>
          </a:xfrm>
          <a:prstGeom prst="rect">
            <a:avLst/>
          </a:prstGeom>
        </p:spPr>
        <p:txBody>
          <a:bodyPr lIns="0" tIns="0" rIns="0" bIns="0"/>
          <a:lstStyle>
            <a:lvl1pPr marL="0" algn="l" defTabSz="1219170" rtl="0" eaLnBrk="1" latinLnBrk="0" hangingPunct="1">
              <a:lnSpc>
                <a:spcPct val="100000"/>
              </a:lnSpc>
              <a:buClr>
                <a:srgbClr val="DD1D21"/>
              </a:buClr>
              <a:buSzPct val="85000"/>
              <a:buNone/>
              <a:tabLst>
                <a:tab pos="1081088" algn="l"/>
              </a:tabLst>
              <a:defRPr lang="en-GB" sz="7300" kern="10000" spc="-600" baseline="0" dirty="0">
                <a:ln w="3175">
                  <a:noFill/>
                </a:ln>
                <a:solidFill>
                  <a:schemeClr val="accent2"/>
                </a:solidFill>
                <a:latin typeface="ShellHeavy" panose="00000700000000000000" pitchFamily="2" charset="0"/>
                <a:ea typeface="ShellHeavy" panose="00000700000000000000" pitchFamily="2" charset="0"/>
                <a:cs typeface="ShellHeavy" panose="00000700000000000000" pitchFamily="2" charset="0"/>
              </a:defRPr>
            </a:lvl1pPr>
          </a:lstStyle>
          <a:p>
            <a:pPr lvl="0"/>
            <a:r>
              <a:rPr lang="en-GB"/>
              <a:t>0.1</a:t>
            </a:r>
          </a:p>
        </p:txBody>
      </p:sp>
      <p:sp>
        <p:nvSpPr>
          <p:cNvPr id="14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042FCE4E-0951-4F15-BC5A-02AF578E7C38}" type="datetime3">
              <a:rPr lang="en-US" noProof="1" smtClean="0"/>
              <a:t>31 March 2025</a:t>
            </a:fld>
            <a:endParaRPr lang="en-GB" noProof="1"/>
          </a:p>
        </p:txBody>
      </p:sp>
      <p:sp>
        <p:nvSpPr>
          <p:cNvPr id="15" name="Text Box 11" descr="&lt;COMPANY_NAME&gt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  <a:endParaRPr lang="en-GB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/S Norske Shell E&amp;P</a:t>
            </a:r>
          </a:p>
        </p:txBody>
      </p:sp>
    </p:spTree>
    <p:extLst>
      <p:ext uri="{BB962C8B-B14F-4D97-AF65-F5344CB8AC3E}">
        <p14:creationId xmlns:p14="http://schemas.microsoft.com/office/powerpoint/2010/main" val="3202663645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 bwMode="gray">
          <a:xfrm>
            <a:off x="-4046" y="483102"/>
            <a:ext cx="1394397" cy="184552"/>
          </a:xfrm>
          <a:prstGeom prst="rect">
            <a:avLst/>
          </a:prstGeom>
          <a:solidFill>
            <a:srgbClr val="FFFFFF"/>
          </a:solidFill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Rectangle 31"/>
          <p:cNvSpPr/>
          <p:nvPr userDrawn="1"/>
        </p:nvSpPr>
        <p:spPr bwMode="white">
          <a:xfrm>
            <a:off x="501606" y="488935"/>
            <a:ext cx="1311092" cy="11880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/S Norske Shell E&amp;P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 bwMode="auto">
          <a:xfrm>
            <a:off x="5578475" y="0"/>
            <a:ext cx="6616248" cy="6857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65175" y="3258523"/>
            <a:ext cx="4066542" cy="1508861"/>
          </a:xfrm>
          <a:noFill/>
        </p:spPr>
        <p:txBody>
          <a:bodyPr lIns="0" tIns="0" rIns="0"/>
          <a:lstStyle>
            <a:lvl1pPr>
              <a:defRPr sz="3200" kern="1200" cap="none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72990" y="4826586"/>
            <a:ext cx="4066542" cy="89537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None/>
              <a:defRPr lang="en-GB" sz="16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21F80617-BB29-4AD5-B03A-0DCB9DC64E94}" type="datetime3">
              <a:rPr lang="en-US" noProof="1" smtClean="0"/>
              <a:t>31 March 2025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318670434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2260">
          <p15:clr>
            <a:srgbClr val="FBAE40"/>
          </p15:clr>
        </p15:guide>
        <p15:guide id="3" orient="horz" pos="236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lang="en-US" sz="2400" b="0" kern="1200" cap="none" baseline="0" noProof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219170" rtl="0" eaLnBrk="1" latinLnBrk="0" hangingPunct="1">
              <a:lnSpc>
                <a:spcPct val="95000"/>
              </a:lnSpc>
              <a:spcBef>
                <a:spcPct val="0"/>
              </a:spcBef>
              <a:buNone/>
            </a:pPr>
            <a:r>
              <a:rPr lang="en-GB"/>
              <a:t>Click to edit Master title style</a:t>
            </a:r>
          </a:p>
        </p:txBody>
      </p:sp>
      <p:sp>
        <p:nvSpPr>
          <p:cNvPr id="13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/S Norske Shell E&amp;P</a:t>
            </a:r>
          </a:p>
        </p:txBody>
      </p:sp>
      <p:sp>
        <p:nvSpPr>
          <p:cNvPr id="7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DF869B4B-AAA6-43D5-BC00-8322BD85ABDC}" type="datetime3">
              <a:rPr lang="en-US" noProof="1" smtClean="0"/>
              <a:t>31 March 2025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1966841373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-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 descr="&lt;ignore&gt;"/>
          <p:cNvSpPr>
            <a:spLocks noGrp="1"/>
          </p:cNvSpPr>
          <p:nvPr>
            <p:ph type="pic" sz="quarter" idx="12"/>
          </p:nvPr>
        </p:nvSpPr>
        <p:spPr bwMode="auto">
          <a:xfrm>
            <a:off x="0" y="0"/>
            <a:ext cx="12194382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/>
          <a:lstStyle>
            <a:lvl1pPr>
              <a:defRPr sz="2133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949800F2-D4C3-467E-8237-66091326D53F}" type="datetime3">
              <a:rPr lang="en-US" noProof="1" smtClean="0"/>
              <a:t>31 March 2025</a:t>
            </a:fld>
            <a:endParaRPr lang="en-GB" noProof="1"/>
          </a:p>
        </p:txBody>
      </p:sp>
      <p:sp>
        <p:nvSpPr>
          <p:cNvPr id="14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/S Norske Shell E&amp;P</a:t>
            </a:r>
          </a:p>
        </p:txBody>
      </p:sp>
      <p:sp>
        <p:nvSpPr>
          <p:cNvPr id="3" name="Text Placeholder 2" descr="&lt;IGNORE&gt;" title="&lt;IGNORE&gt;"/>
          <p:cNvSpPr>
            <a:spLocks noGrp="1"/>
          </p:cNvSpPr>
          <p:nvPr>
            <p:ph type="body" sz="quarter" idx="13"/>
          </p:nvPr>
        </p:nvSpPr>
        <p:spPr>
          <a:xfrm>
            <a:off x="513179" y="1681888"/>
            <a:ext cx="11166561" cy="2861742"/>
          </a:xfrm>
        </p:spPr>
        <p:txBody>
          <a:bodyPr/>
          <a:lstStyle>
            <a:lvl1pPr>
              <a:lnSpc>
                <a:spcPct val="110000"/>
              </a:lnSpc>
              <a:defRPr lang="en-US" sz="36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4912934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9167" y="1756129"/>
            <a:ext cx="8619060" cy="2050065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129166" y="3806195"/>
            <a:ext cx="8619060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4.03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he FORCE Integrated Reservoir Modelling Group presents Cake &amp; Discus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929422-49FF-454F-8FF9-B363F50C5138}" type="slidenum">
              <a:rPr lang="en-US" smtClean="0"/>
              <a:t>‹#›</a:t>
            </a:fld>
            <a:endParaRPr lang="en-US"/>
          </a:p>
        </p:txBody>
      </p:sp>
      <p:pic>
        <p:nvPicPr>
          <p:cNvPr id="16" name="Picture 15" descr="RedHashing.emf"/>
          <p:cNvPicPr>
            <a:picLocks/>
          </p:cNvPicPr>
          <p:nvPr/>
        </p:nvPicPr>
        <p:blipFill rotWithShape="1"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5" r="15828" b="36435"/>
          <a:stretch/>
        </p:blipFill>
        <p:spPr>
          <a:xfrm>
            <a:off x="1125460" y="643464"/>
            <a:ext cx="9610344" cy="15544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5D9118C5-6BFB-E1B0-F2C9-932AA6809E8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797989" y="-115544"/>
            <a:ext cx="1333500" cy="1333500"/>
            <a:chOff x="344845" y="1271954"/>
            <a:chExt cx="3730426" cy="3730426"/>
          </a:xfrm>
        </p:grpSpPr>
        <p:pic>
          <p:nvPicPr>
            <p:cNvPr id="8" name="Graphic 7" descr="Meeting outline">
              <a:extLst>
                <a:ext uri="{FF2B5EF4-FFF2-40B4-BE49-F238E27FC236}">
                  <a16:creationId xmlns:a16="http://schemas.microsoft.com/office/drawing/2014/main" id="{112A1D23-0BE1-3D7D-73BD-775FE7277B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44845" y="1271954"/>
              <a:ext cx="3730426" cy="3730426"/>
            </a:xfrm>
            <a:prstGeom prst="rect">
              <a:avLst/>
            </a:prstGeom>
          </p:spPr>
        </p:pic>
        <p:pic>
          <p:nvPicPr>
            <p:cNvPr id="9" name="Graphic 8" descr="Cupcake outline">
              <a:extLst>
                <a:ext uri="{FF2B5EF4-FFF2-40B4-BE49-F238E27FC236}">
                  <a16:creationId xmlns:a16="http://schemas.microsoft.com/office/drawing/2014/main" id="{9E224685-2189-20DC-C6D1-5A1DDF824D4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10058" y="3494698"/>
              <a:ext cx="774636" cy="774636"/>
            </a:xfrm>
            <a:prstGeom prst="rect">
              <a:avLst/>
            </a:prstGeom>
          </p:spPr>
        </p:pic>
        <p:pic>
          <p:nvPicPr>
            <p:cNvPr id="10" name="Content Placeholder 6" descr="Cake slice with solid fill">
              <a:extLst>
                <a:ext uri="{FF2B5EF4-FFF2-40B4-BE49-F238E27FC236}">
                  <a16:creationId xmlns:a16="http://schemas.microsoft.com/office/drawing/2014/main" id="{165957F3-CECF-10CE-6F32-4C865801301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95658" y="3474164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553622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35" t="452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234" r="47297" b="27130"/>
          <a:stretch/>
        </p:blipFill>
        <p:spPr>
          <a:xfrm>
            <a:off x="5207633" y="0"/>
            <a:ext cx="6999607" cy="6858000"/>
          </a:xfrm>
          <a:prstGeom prst="rect">
            <a:avLst/>
          </a:prstGeom>
        </p:spPr>
      </p:pic>
      <p:sp>
        <p:nvSpPr>
          <p:cNvPr id="24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2344620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ShellMedium" panose="00000600000000000000" pitchFamily="2" charset="0"/>
              </a:defRPr>
            </a:lvl1pPr>
          </a:lstStyle>
          <a:p>
            <a:r>
              <a:rPr lang="en-GB"/>
              <a:t>Click to edit Master title style, if required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66800" y="723550"/>
            <a:ext cx="6375761" cy="140021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9600" b="0" cap="none" baseline="0">
                <a:solidFill>
                  <a:schemeClr val="accent1"/>
                </a:solidFill>
                <a:latin typeface="ShellHeavy" panose="00000700000000000000" pitchFamily="2" charset="0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GB"/>
              <a:t>Q&amp;A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FBD66736-50BE-4582-8494-22286C2839B6}" type="datetime3">
              <a:rPr lang="en-US" noProof="1" smtClean="0"/>
              <a:t>31 March 2025</a:t>
            </a:fld>
            <a:endParaRPr lang="en-GB" noProof="1"/>
          </a:p>
        </p:txBody>
      </p:sp>
      <p:sp>
        <p:nvSpPr>
          <p:cNvPr id="27" name="Text Box 11" descr="&lt;COMPANY_NAME&gt;"/>
          <p:cNvSpPr txBox="1">
            <a:spLocks noChangeArrowheads="1"/>
          </p:cNvSpPr>
          <p:nvPr userDrawn="1"/>
        </p:nvSpPr>
        <p:spPr bwMode="gray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bg1"/>
                </a:solidFill>
                <a:latin typeface="+mn-lt"/>
                <a:cs typeface="Arial" pitchFamily="34" charset="0"/>
              </a:rPr>
              <a:t>Copyright of Shell International B.V.</a:t>
            </a:r>
            <a:endParaRPr lang="en-GB" sz="850" noProof="1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/S Norske Shell E&amp;P</a:t>
            </a:r>
          </a:p>
        </p:txBody>
      </p:sp>
    </p:spTree>
    <p:extLst>
      <p:ext uri="{BB962C8B-B14F-4D97-AF65-F5344CB8AC3E}">
        <p14:creationId xmlns:p14="http://schemas.microsoft.com/office/powerpoint/2010/main" val="957277466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 - Opt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234" r="47297" b="27130"/>
          <a:stretch/>
        </p:blipFill>
        <p:spPr>
          <a:xfrm>
            <a:off x="5207633" y="0"/>
            <a:ext cx="6999607" cy="6858000"/>
          </a:xfrm>
          <a:prstGeom prst="rect">
            <a:avLst/>
          </a:prstGeom>
        </p:spPr>
      </p:pic>
      <p:sp>
        <p:nvSpPr>
          <p:cNvPr id="24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4169538"/>
            <a:ext cx="5187472" cy="13620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400" b="0" cap="none" baseline="0">
                <a:solidFill>
                  <a:schemeClr val="tx1"/>
                </a:solidFill>
                <a:latin typeface="ShellMedium" panose="00000600000000000000" pitchFamily="2" charset="0"/>
              </a:defRPr>
            </a:lvl1pPr>
          </a:lstStyle>
          <a:p>
            <a:r>
              <a:rPr lang="en-GB"/>
              <a:t>Click to edit Master title style, if required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66800" y="2548468"/>
            <a:ext cx="6375761" cy="140021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9600" b="0" cap="none" baseline="0">
                <a:solidFill>
                  <a:schemeClr val="accent2"/>
                </a:solidFill>
                <a:latin typeface="ShellHeavy" panose="00000700000000000000" pitchFamily="2" charset="0"/>
              </a:defRPr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GB"/>
              <a:t>Q&amp;A</a:t>
            </a:r>
          </a:p>
        </p:txBody>
      </p:sp>
      <p:sp>
        <p:nvSpPr>
          <p:cNvPr id="26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9FCCF347-CDC0-474F-8E21-FBCC01F817B8}" type="datetime3">
              <a:rPr lang="en-US" noProof="1" smtClean="0"/>
              <a:t>31 March 2025</a:t>
            </a:fld>
            <a:endParaRPr lang="en-GB" noProof="1"/>
          </a:p>
        </p:txBody>
      </p:sp>
      <p:sp>
        <p:nvSpPr>
          <p:cNvPr id="28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/S Norske Shell E&amp;P</a:t>
            </a:r>
          </a:p>
        </p:txBody>
      </p:sp>
    </p:spTree>
    <p:extLst>
      <p:ext uri="{BB962C8B-B14F-4D97-AF65-F5344CB8AC3E}">
        <p14:creationId xmlns:p14="http://schemas.microsoft.com/office/powerpoint/2010/main" val="559228531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/S Norske Shell E&amp;P</a:t>
            </a:r>
          </a:p>
        </p:txBody>
      </p:sp>
      <p:sp>
        <p:nvSpPr>
          <p:cNvPr id="10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651D4421-10C0-471B-9AE7-3AC5081B860B}" type="datetime3">
              <a:rPr lang="en-US" noProof="1" smtClean="0"/>
              <a:t>31 March 2025</a:t>
            </a:fld>
            <a:endParaRPr lang="en-GB" noProof="1"/>
          </a:p>
        </p:txBody>
      </p:sp>
      <p:sp>
        <p:nvSpPr>
          <p:cNvPr id="11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12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  <a:endParaRPr lang="en-GB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5516558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208" y="1257010"/>
            <a:ext cx="4316400" cy="431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68982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robl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Picture Placeholder 57" descr="abstract colorful illustration of buildings">
            <a:extLst>
              <a:ext uri="{FF2B5EF4-FFF2-40B4-BE49-F238E27FC236}">
                <a16:creationId xmlns:a16="http://schemas.microsoft.com/office/drawing/2014/main" id="{1DD1F8B0-C735-4424-AEEE-89EF4992D4BE}"/>
              </a:ext>
            </a:extLst>
          </p:cNvPr>
          <p:cNvGrpSpPr/>
          <p:nvPr userDrawn="1"/>
        </p:nvGrpSpPr>
        <p:grpSpPr>
          <a:xfrm>
            <a:off x="8485632" y="182880"/>
            <a:ext cx="3734545" cy="6674797"/>
            <a:chOff x="8485632" y="182880"/>
            <a:chExt cx="3734545" cy="6674797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89A81CD6-5D93-4594-9E02-67A5952F15CD}"/>
                </a:ext>
              </a:extLst>
            </p:cNvPr>
            <p:cNvSpPr/>
            <p:nvPr/>
          </p:nvSpPr>
          <p:spPr>
            <a:xfrm>
              <a:off x="10104398" y="3236782"/>
              <a:ext cx="1101520" cy="880131"/>
            </a:xfrm>
            <a:custGeom>
              <a:avLst/>
              <a:gdLst>
                <a:gd name="connsiteX0" fmla="*/ 481836 w 1101520"/>
                <a:gd name="connsiteY0" fmla="*/ 880131 h 880131"/>
                <a:gd name="connsiteX1" fmla="*/ 497012 w 1101520"/>
                <a:gd name="connsiteY1" fmla="*/ 872544 h 880131"/>
                <a:gd name="connsiteX2" fmla="*/ 875146 w 1101520"/>
                <a:gd name="connsiteY2" fmla="*/ 695506 h 880131"/>
                <a:gd name="connsiteX3" fmla="*/ 875146 w 1101520"/>
                <a:gd name="connsiteY3" fmla="*/ 695506 h 880131"/>
                <a:gd name="connsiteX4" fmla="*/ 876411 w 1101520"/>
                <a:gd name="connsiteY4" fmla="*/ 695506 h 880131"/>
                <a:gd name="connsiteX5" fmla="*/ 880205 w 1101520"/>
                <a:gd name="connsiteY5" fmla="*/ 695506 h 880131"/>
                <a:gd name="connsiteX6" fmla="*/ 1101520 w 1101520"/>
                <a:gd name="connsiteY6" fmla="*/ 804258 h 880131"/>
                <a:gd name="connsiteX7" fmla="*/ 972525 w 1101520"/>
                <a:gd name="connsiteY7" fmla="*/ 0 h 880131"/>
                <a:gd name="connsiteX8" fmla="*/ 0 w 1101520"/>
                <a:gd name="connsiteY8" fmla="*/ 422362 h 880131"/>
                <a:gd name="connsiteX9" fmla="*/ 45528 w 1101520"/>
                <a:gd name="connsiteY9" fmla="*/ 652511 h 880131"/>
                <a:gd name="connsiteX10" fmla="*/ 481836 w 1101520"/>
                <a:gd name="connsiteY10" fmla="*/ 880131 h 880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01520" h="880131">
                  <a:moveTo>
                    <a:pt x="481836" y="880131"/>
                  </a:moveTo>
                  <a:lnTo>
                    <a:pt x="497012" y="872544"/>
                  </a:lnTo>
                  <a:lnTo>
                    <a:pt x="875146" y="695506"/>
                  </a:lnTo>
                  <a:lnTo>
                    <a:pt x="875146" y="695506"/>
                  </a:lnTo>
                  <a:lnTo>
                    <a:pt x="876411" y="695506"/>
                  </a:lnTo>
                  <a:lnTo>
                    <a:pt x="880205" y="695506"/>
                  </a:lnTo>
                  <a:lnTo>
                    <a:pt x="1101520" y="804258"/>
                  </a:lnTo>
                  <a:lnTo>
                    <a:pt x="972525" y="0"/>
                  </a:lnTo>
                  <a:lnTo>
                    <a:pt x="0" y="422362"/>
                  </a:lnTo>
                  <a:lnTo>
                    <a:pt x="45528" y="652511"/>
                  </a:lnTo>
                  <a:lnTo>
                    <a:pt x="481836" y="880131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F7AA70F-B66A-45A2-B251-4B30ED5E9627}"/>
                </a:ext>
              </a:extLst>
            </p:cNvPr>
            <p:cNvSpPr/>
            <p:nvPr/>
          </p:nvSpPr>
          <p:spPr>
            <a:xfrm>
              <a:off x="10608998" y="3943669"/>
              <a:ext cx="489424" cy="891512"/>
            </a:xfrm>
            <a:custGeom>
              <a:avLst/>
              <a:gdLst>
                <a:gd name="connsiteX0" fmla="*/ 489424 w 489424"/>
                <a:gd name="connsiteY0" fmla="*/ 710681 h 891512"/>
                <a:gd name="connsiteX1" fmla="*/ 369281 w 489424"/>
                <a:gd name="connsiteY1" fmla="*/ 0 h 891512"/>
                <a:gd name="connsiteX2" fmla="*/ 0 w 489424"/>
                <a:gd name="connsiteY2" fmla="*/ 171980 h 891512"/>
                <a:gd name="connsiteX3" fmla="*/ 131525 w 489424"/>
                <a:gd name="connsiteY3" fmla="*/ 891512 h 891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9424" h="891512">
                  <a:moveTo>
                    <a:pt x="489424" y="710681"/>
                  </a:moveTo>
                  <a:lnTo>
                    <a:pt x="369281" y="0"/>
                  </a:lnTo>
                  <a:lnTo>
                    <a:pt x="0" y="171980"/>
                  </a:lnTo>
                  <a:lnTo>
                    <a:pt x="131525" y="891512"/>
                  </a:lnTo>
                  <a:close/>
                </a:path>
              </a:pathLst>
            </a:custGeom>
            <a:solidFill>
              <a:schemeClr val="accent1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2A3011B5-3181-4160-A071-F73460529704}"/>
                </a:ext>
              </a:extLst>
            </p:cNvPr>
            <p:cNvSpPr/>
            <p:nvPr/>
          </p:nvSpPr>
          <p:spPr>
            <a:xfrm>
              <a:off x="10591293" y="4120707"/>
              <a:ext cx="140377" cy="722061"/>
            </a:xfrm>
            <a:custGeom>
              <a:avLst/>
              <a:gdLst>
                <a:gd name="connsiteX0" fmla="*/ 140378 w 140377"/>
                <a:gd name="connsiteY0" fmla="*/ 718268 h 722061"/>
                <a:gd name="connsiteX1" fmla="*/ 8853 w 140377"/>
                <a:gd name="connsiteY1" fmla="*/ 0 h 722061"/>
                <a:gd name="connsiteX2" fmla="*/ 0 w 140377"/>
                <a:gd name="connsiteY2" fmla="*/ 3794 h 722061"/>
                <a:gd name="connsiteX3" fmla="*/ 131525 w 140377"/>
                <a:gd name="connsiteY3" fmla="*/ 722062 h 722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377" h="722061">
                  <a:moveTo>
                    <a:pt x="140378" y="718268"/>
                  </a:moveTo>
                  <a:lnTo>
                    <a:pt x="8853" y="0"/>
                  </a:lnTo>
                  <a:lnTo>
                    <a:pt x="0" y="3794"/>
                  </a:lnTo>
                  <a:lnTo>
                    <a:pt x="131525" y="722062"/>
                  </a:lnTo>
                  <a:close/>
                </a:path>
              </a:pathLst>
            </a:custGeom>
            <a:solidFill>
              <a:srgbClr val="66B2B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B0AAB3A-ED5A-4BE4-AA17-19D69D3C7ED5}"/>
                </a:ext>
              </a:extLst>
            </p:cNvPr>
            <p:cNvSpPr/>
            <p:nvPr/>
          </p:nvSpPr>
          <p:spPr>
            <a:xfrm>
              <a:off x="10152456" y="3901939"/>
              <a:ext cx="561509" cy="939564"/>
            </a:xfrm>
            <a:custGeom>
              <a:avLst/>
              <a:gdLst>
                <a:gd name="connsiteX0" fmla="*/ 429985 w 561509"/>
                <a:gd name="connsiteY0" fmla="*/ 222562 h 939564"/>
                <a:gd name="connsiteX1" fmla="*/ 0 w 561509"/>
                <a:gd name="connsiteY1" fmla="*/ 0 h 939564"/>
                <a:gd name="connsiteX2" fmla="*/ 139113 w 561509"/>
                <a:gd name="connsiteY2" fmla="*/ 699299 h 939564"/>
                <a:gd name="connsiteX3" fmla="*/ 561510 w 561509"/>
                <a:gd name="connsiteY3" fmla="*/ 939565 h 939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1509" h="939564">
                  <a:moveTo>
                    <a:pt x="429985" y="222562"/>
                  </a:moveTo>
                  <a:lnTo>
                    <a:pt x="0" y="0"/>
                  </a:lnTo>
                  <a:lnTo>
                    <a:pt x="139113" y="699299"/>
                  </a:lnTo>
                  <a:lnTo>
                    <a:pt x="561510" y="939565"/>
                  </a:lnTo>
                  <a:close/>
                </a:path>
              </a:pathLst>
            </a:custGeom>
            <a:solidFill>
              <a:schemeClr val="bg2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FFE60A7-2DA7-4C31-9BD0-896F9D2FF18F}"/>
                </a:ext>
              </a:extLst>
            </p:cNvPr>
            <p:cNvSpPr/>
            <p:nvPr/>
          </p:nvSpPr>
          <p:spPr>
            <a:xfrm>
              <a:off x="10614057" y="314393"/>
              <a:ext cx="939643" cy="4584015"/>
            </a:xfrm>
            <a:custGeom>
              <a:avLst/>
              <a:gdLst>
                <a:gd name="connsiteX0" fmla="*/ 600714 w 939643"/>
                <a:gd name="connsiteY0" fmla="*/ 3734234 h 4584015"/>
                <a:gd name="connsiteX1" fmla="*/ 600714 w 939643"/>
                <a:gd name="connsiteY1" fmla="*/ 3734234 h 4584015"/>
                <a:gd name="connsiteX2" fmla="*/ 600714 w 939643"/>
                <a:gd name="connsiteY2" fmla="*/ 3735499 h 4584015"/>
                <a:gd name="connsiteX3" fmla="*/ 600714 w 939643"/>
                <a:gd name="connsiteY3" fmla="*/ 3735499 h 4584015"/>
                <a:gd name="connsiteX4" fmla="*/ 600714 w 939643"/>
                <a:gd name="connsiteY4" fmla="*/ 3735499 h 4584015"/>
                <a:gd name="connsiteX5" fmla="*/ 599450 w 939643"/>
                <a:gd name="connsiteY5" fmla="*/ 3736763 h 4584015"/>
                <a:gd name="connsiteX6" fmla="*/ 599450 w 939643"/>
                <a:gd name="connsiteY6" fmla="*/ 3736763 h 4584015"/>
                <a:gd name="connsiteX7" fmla="*/ 598185 w 939643"/>
                <a:gd name="connsiteY7" fmla="*/ 3736763 h 4584015"/>
                <a:gd name="connsiteX8" fmla="*/ 596920 w 939643"/>
                <a:gd name="connsiteY8" fmla="*/ 3736763 h 4584015"/>
                <a:gd name="connsiteX9" fmla="*/ 595656 w 939643"/>
                <a:gd name="connsiteY9" fmla="*/ 3736763 h 4584015"/>
                <a:gd name="connsiteX10" fmla="*/ 594391 w 939643"/>
                <a:gd name="connsiteY10" fmla="*/ 3736763 h 4584015"/>
                <a:gd name="connsiteX11" fmla="*/ 594391 w 939643"/>
                <a:gd name="connsiteY11" fmla="*/ 3736763 h 4584015"/>
                <a:gd name="connsiteX12" fmla="*/ 374340 w 939643"/>
                <a:gd name="connsiteY12" fmla="*/ 3628011 h 4584015"/>
                <a:gd name="connsiteX13" fmla="*/ 493218 w 939643"/>
                <a:gd name="connsiteY13" fmla="*/ 4339957 h 4584015"/>
                <a:gd name="connsiteX14" fmla="*/ 493218 w 939643"/>
                <a:gd name="connsiteY14" fmla="*/ 4339957 h 4584015"/>
                <a:gd name="connsiteX15" fmla="*/ 493218 w 939643"/>
                <a:gd name="connsiteY15" fmla="*/ 4341221 h 4584015"/>
                <a:gd name="connsiteX16" fmla="*/ 493218 w 939643"/>
                <a:gd name="connsiteY16" fmla="*/ 4342486 h 4584015"/>
                <a:gd name="connsiteX17" fmla="*/ 493218 w 939643"/>
                <a:gd name="connsiteY17" fmla="*/ 4343750 h 4584015"/>
                <a:gd name="connsiteX18" fmla="*/ 493218 w 939643"/>
                <a:gd name="connsiteY18" fmla="*/ 4343750 h 4584015"/>
                <a:gd name="connsiteX19" fmla="*/ 939644 w 939643"/>
                <a:gd name="connsiteY19" fmla="*/ 4584016 h 4584015"/>
                <a:gd name="connsiteX20" fmla="*/ 878940 w 939643"/>
                <a:gd name="connsiteY20" fmla="*/ 4205914 h 4584015"/>
                <a:gd name="connsiteX21" fmla="*/ 824559 w 939643"/>
                <a:gd name="connsiteY21" fmla="*/ 3851838 h 4584015"/>
                <a:gd name="connsiteX22" fmla="*/ 247874 w 939643"/>
                <a:gd name="connsiteY22" fmla="*/ 58170 h 4584015"/>
                <a:gd name="connsiteX23" fmla="*/ 0 w 939643"/>
                <a:gd name="connsiteY23" fmla="*/ 0 h 4584015"/>
                <a:gd name="connsiteX24" fmla="*/ 466660 w 939643"/>
                <a:gd name="connsiteY24" fmla="*/ 2916066 h 4584015"/>
                <a:gd name="connsiteX25" fmla="*/ 600714 w 939643"/>
                <a:gd name="connsiteY25" fmla="*/ 3734234 h 4584015"/>
                <a:gd name="connsiteX26" fmla="*/ 600714 w 939643"/>
                <a:gd name="connsiteY26" fmla="*/ 3734234 h 4584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39643" h="4584015">
                  <a:moveTo>
                    <a:pt x="600714" y="3734234"/>
                  </a:moveTo>
                  <a:lnTo>
                    <a:pt x="600714" y="3734234"/>
                  </a:lnTo>
                  <a:cubicBezTo>
                    <a:pt x="600714" y="3735499"/>
                    <a:pt x="600714" y="3735499"/>
                    <a:pt x="600714" y="3735499"/>
                  </a:cubicBezTo>
                  <a:cubicBezTo>
                    <a:pt x="600714" y="3735499"/>
                    <a:pt x="600714" y="3735499"/>
                    <a:pt x="600714" y="3735499"/>
                  </a:cubicBezTo>
                  <a:lnTo>
                    <a:pt x="600714" y="3735499"/>
                  </a:lnTo>
                  <a:lnTo>
                    <a:pt x="599450" y="3736763"/>
                  </a:lnTo>
                  <a:lnTo>
                    <a:pt x="599450" y="3736763"/>
                  </a:lnTo>
                  <a:lnTo>
                    <a:pt x="598185" y="3736763"/>
                  </a:lnTo>
                  <a:lnTo>
                    <a:pt x="596920" y="3736763"/>
                  </a:lnTo>
                  <a:lnTo>
                    <a:pt x="595656" y="3736763"/>
                  </a:lnTo>
                  <a:lnTo>
                    <a:pt x="594391" y="3736763"/>
                  </a:lnTo>
                  <a:lnTo>
                    <a:pt x="594391" y="3736763"/>
                  </a:lnTo>
                  <a:lnTo>
                    <a:pt x="374340" y="3628011"/>
                  </a:lnTo>
                  <a:lnTo>
                    <a:pt x="493218" y="4339957"/>
                  </a:lnTo>
                  <a:lnTo>
                    <a:pt x="493218" y="4339957"/>
                  </a:lnTo>
                  <a:cubicBezTo>
                    <a:pt x="493218" y="4339957"/>
                    <a:pt x="493218" y="4341221"/>
                    <a:pt x="493218" y="4341221"/>
                  </a:cubicBezTo>
                  <a:cubicBezTo>
                    <a:pt x="493218" y="4341221"/>
                    <a:pt x="493218" y="4341221"/>
                    <a:pt x="493218" y="4342486"/>
                  </a:cubicBezTo>
                  <a:cubicBezTo>
                    <a:pt x="493218" y="4342486"/>
                    <a:pt x="493218" y="4342486"/>
                    <a:pt x="493218" y="4343750"/>
                  </a:cubicBezTo>
                  <a:lnTo>
                    <a:pt x="493218" y="4343750"/>
                  </a:lnTo>
                  <a:lnTo>
                    <a:pt x="939644" y="4584016"/>
                  </a:lnTo>
                  <a:lnTo>
                    <a:pt x="878940" y="4205914"/>
                  </a:lnTo>
                  <a:lnTo>
                    <a:pt x="824559" y="3851838"/>
                  </a:lnTo>
                  <a:lnTo>
                    <a:pt x="247874" y="58170"/>
                  </a:lnTo>
                  <a:lnTo>
                    <a:pt x="0" y="0"/>
                  </a:lnTo>
                  <a:lnTo>
                    <a:pt x="466660" y="2916066"/>
                  </a:lnTo>
                  <a:lnTo>
                    <a:pt x="600714" y="3734234"/>
                  </a:lnTo>
                  <a:lnTo>
                    <a:pt x="600714" y="373423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8D621BD3-AD98-439D-AA20-82BDABBC6058}"/>
                </a:ext>
              </a:extLst>
            </p:cNvPr>
            <p:cNvSpPr/>
            <p:nvPr/>
          </p:nvSpPr>
          <p:spPr>
            <a:xfrm>
              <a:off x="9991844" y="4660111"/>
              <a:ext cx="1561857" cy="835169"/>
            </a:xfrm>
            <a:custGeom>
              <a:avLst/>
              <a:gdLst>
                <a:gd name="connsiteX0" fmla="*/ 1114167 w 1561857"/>
                <a:gd name="connsiteY0" fmla="*/ 562 h 835169"/>
                <a:gd name="connsiteX1" fmla="*/ 1114167 w 1561857"/>
                <a:gd name="connsiteY1" fmla="*/ 562 h 835169"/>
                <a:gd name="connsiteX2" fmla="*/ 1114167 w 1561857"/>
                <a:gd name="connsiteY2" fmla="*/ 562 h 835169"/>
                <a:gd name="connsiteX3" fmla="*/ 746151 w 1561857"/>
                <a:gd name="connsiteY3" fmla="*/ 185187 h 835169"/>
                <a:gd name="connsiteX4" fmla="*/ 729710 w 1561857"/>
                <a:gd name="connsiteY4" fmla="*/ 194039 h 835169"/>
                <a:gd name="connsiteX5" fmla="*/ 510923 w 1561857"/>
                <a:gd name="connsiteY5" fmla="*/ 304056 h 835169"/>
                <a:gd name="connsiteX6" fmla="*/ 359164 w 1561857"/>
                <a:gd name="connsiteY6" fmla="*/ 379929 h 835169"/>
                <a:gd name="connsiteX7" fmla="*/ 221316 w 1561857"/>
                <a:gd name="connsiteY7" fmla="*/ 449479 h 835169"/>
                <a:gd name="connsiteX8" fmla="*/ 0 w 1561857"/>
                <a:gd name="connsiteY8" fmla="*/ 562025 h 835169"/>
                <a:gd name="connsiteX9" fmla="*/ 432514 w 1561857"/>
                <a:gd name="connsiteY9" fmla="*/ 835169 h 835169"/>
                <a:gd name="connsiteX10" fmla="*/ 1561857 w 1561857"/>
                <a:gd name="connsiteY10" fmla="*/ 240828 h 835169"/>
                <a:gd name="connsiteX11" fmla="*/ 1561857 w 1561857"/>
                <a:gd name="connsiteY11" fmla="*/ 240828 h 835169"/>
                <a:gd name="connsiteX12" fmla="*/ 1114167 w 1561857"/>
                <a:gd name="connsiteY12" fmla="*/ 562 h 835169"/>
                <a:gd name="connsiteX13" fmla="*/ 1114167 w 1561857"/>
                <a:gd name="connsiteY13" fmla="*/ 562 h 835169"/>
                <a:gd name="connsiteX14" fmla="*/ 1114167 w 1561857"/>
                <a:gd name="connsiteY14" fmla="*/ 562 h 835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61857" h="835169">
                  <a:moveTo>
                    <a:pt x="1114167" y="562"/>
                  </a:moveTo>
                  <a:cubicBezTo>
                    <a:pt x="1114167" y="562"/>
                    <a:pt x="1114167" y="562"/>
                    <a:pt x="1114167" y="562"/>
                  </a:cubicBezTo>
                  <a:lnTo>
                    <a:pt x="1114167" y="562"/>
                  </a:lnTo>
                  <a:lnTo>
                    <a:pt x="746151" y="185187"/>
                  </a:lnTo>
                  <a:lnTo>
                    <a:pt x="729710" y="194039"/>
                  </a:lnTo>
                  <a:lnTo>
                    <a:pt x="510923" y="304056"/>
                  </a:lnTo>
                  <a:lnTo>
                    <a:pt x="359164" y="379929"/>
                  </a:lnTo>
                  <a:lnTo>
                    <a:pt x="221316" y="449479"/>
                  </a:lnTo>
                  <a:lnTo>
                    <a:pt x="0" y="562025"/>
                  </a:lnTo>
                  <a:lnTo>
                    <a:pt x="432514" y="835169"/>
                  </a:lnTo>
                  <a:lnTo>
                    <a:pt x="1561857" y="240828"/>
                  </a:lnTo>
                  <a:lnTo>
                    <a:pt x="1561857" y="240828"/>
                  </a:lnTo>
                  <a:lnTo>
                    <a:pt x="1114167" y="562"/>
                  </a:lnTo>
                  <a:lnTo>
                    <a:pt x="1114167" y="562"/>
                  </a:lnTo>
                  <a:cubicBezTo>
                    <a:pt x="1115432" y="-703"/>
                    <a:pt x="1114167" y="562"/>
                    <a:pt x="1114167" y="562"/>
                  </a:cubicBezTo>
                  <a:close/>
                </a:path>
              </a:pathLst>
            </a:custGeom>
            <a:solidFill>
              <a:schemeClr val="accent1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9E99753-FB92-4947-B5C3-A9A1024F6F0D}"/>
                </a:ext>
              </a:extLst>
            </p:cNvPr>
            <p:cNvSpPr/>
            <p:nvPr/>
          </p:nvSpPr>
          <p:spPr>
            <a:xfrm>
              <a:off x="10191660" y="5104532"/>
              <a:ext cx="1058521" cy="924390"/>
            </a:xfrm>
            <a:custGeom>
              <a:avLst/>
              <a:gdLst>
                <a:gd name="connsiteX0" fmla="*/ 235227 w 1058521"/>
                <a:gd name="connsiteY0" fmla="*/ 399599 h 924390"/>
                <a:gd name="connsiteX1" fmla="*/ 0 w 1058521"/>
                <a:gd name="connsiteY1" fmla="*/ 523526 h 924390"/>
                <a:gd name="connsiteX2" fmla="*/ 84732 w 1058521"/>
                <a:gd name="connsiteY2" fmla="*/ 924390 h 924390"/>
                <a:gd name="connsiteX3" fmla="*/ 1058522 w 1058521"/>
                <a:gd name="connsiteY3" fmla="*/ 390748 h 924390"/>
                <a:gd name="connsiteX4" fmla="*/ 992759 w 1058521"/>
                <a:gd name="connsiteY4" fmla="*/ 0 h 924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8521" h="924390">
                  <a:moveTo>
                    <a:pt x="235227" y="399599"/>
                  </a:moveTo>
                  <a:lnTo>
                    <a:pt x="0" y="523526"/>
                  </a:lnTo>
                  <a:lnTo>
                    <a:pt x="84732" y="924390"/>
                  </a:lnTo>
                  <a:lnTo>
                    <a:pt x="1058522" y="390748"/>
                  </a:lnTo>
                  <a:lnTo>
                    <a:pt x="992759" y="0"/>
                  </a:lnTo>
                  <a:close/>
                </a:path>
              </a:pathLst>
            </a:custGeom>
            <a:solidFill>
              <a:schemeClr val="bg2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216CA164-B6F8-4C2C-A1B6-FE23C993EBFF}"/>
                </a:ext>
              </a:extLst>
            </p:cNvPr>
            <p:cNvSpPr/>
            <p:nvPr/>
          </p:nvSpPr>
          <p:spPr>
            <a:xfrm>
              <a:off x="11198331" y="4912319"/>
              <a:ext cx="465395" cy="412245"/>
            </a:xfrm>
            <a:custGeom>
              <a:avLst/>
              <a:gdLst>
                <a:gd name="connsiteX0" fmla="*/ 390780 w 465395"/>
                <a:gd name="connsiteY0" fmla="*/ 21498 h 412245"/>
                <a:gd name="connsiteX1" fmla="*/ 390780 w 465395"/>
                <a:gd name="connsiteY1" fmla="*/ 21498 h 412245"/>
                <a:gd name="connsiteX2" fmla="*/ 390780 w 465395"/>
                <a:gd name="connsiteY2" fmla="*/ 21498 h 412245"/>
                <a:gd name="connsiteX3" fmla="*/ 390780 w 465395"/>
                <a:gd name="connsiteY3" fmla="*/ 21498 h 412245"/>
                <a:gd name="connsiteX4" fmla="*/ 390780 w 465395"/>
                <a:gd name="connsiteY4" fmla="*/ 21498 h 412245"/>
                <a:gd name="connsiteX5" fmla="*/ 389516 w 465395"/>
                <a:gd name="connsiteY5" fmla="*/ 20233 h 412245"/>
                <a:gd name="connsiteX6" fmla="*/ 389516 w 465395"/>
                <a:gd name="connsiteY6" fmla="*/ 18968 h 412245"/>
                <a:gd name="connsiteX7" fmla="*/ 389516 w 465395"/>
                <a:gd name="connsiteY7" fmla="*/ 17704 h 412245"/>
                <a:gd name="connsiteX8" fmla="*/ 389516 w 465395"/>
                <a:gd name="connsiteY8" fmla="*/ 17704 h 412245"/>
                <a:gd name="connsiteX9" fmla="*/ 389516 w 465395"/>
                <a:gd name="connsiteY9" fmla="*/ 17704 h 412245"/>
                <a:gd name="connsiteX10" fmla="*/ 389516 w 465395"/>
                <a:gd name="connsiteY10" fmla="*/ 17704 h 412245"/>
                <a:gd name="connsiteX11" fmla="*/ 360429 w 465395"/>
                <a:gd name="connsiteY11" fmla="*/ 0 h 412245"/>
                <a:gd name="connsiteX12" fmla="*/ 0 w 465395"/>
                <a:gd name="connsiteY12" fmla="*/ 189683 h 412245"/>
                <a:gd name="connsiteX13" fmla="*/ 30352 w 465395"/>
                <a:gd name="connsiteY13" fmla="*/ 207387 h 412245"/>
                <a:gd name="connsiteX14" fmla="*/ 392045 w 465395"/>
                <a:gd name="connsiteY14" fmla="*/ 412245 h 412245"/>
                <a:gd name="connsiteX15" fmla="*/ 465396 w 465395"/>
                <a:gd name="connsiteY15" fmla="*/ 371779 h 412245"/>
                <a:gd name="connsiteX16" fmla="*/ 414809 w 465395"/>
                <a:gd name="connsiteY16" fmla="*/ 35407 h 412245"/>
                <a:gd name="connsiteX17" fmla="*/ 390780 w 465395"/>
                <a:gd name="connsiteY17" fmla="*/ 21498 h 412245"/>
                <a:gd name="connsiteX18" fmla="*/ 390780 w 465395"/>
                <a:gd name="connsiteY18" fmla="*/ 21498 h 412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65395" h="412245">
                  <a:moveTo>
                    <a:pt x="390780" y="21498"/>
                  </a:moveTo>
                  <a:lnTo>
                    <a:pt x="390780" y="21498"/>
                  </a:lnTo>
                  <a:cubicBezTo>
                    <a:pt x="390780" y="21498"/>
                    <a:pt x="390780" y="21498"/>
                    <a:pt x="390780" y="21498"/>
                  </a:cubicBezTo>
                  <a:lnTo>
                    <a:pt x="390780" y="21498"/>
                  </a:lnTo>
                  <a:lnTo>
                    <a:pt x="390780" y="21498"/>
                  </a:lnTo>
                  <a:cubicBezTo>
                    <a:pt x="389516" y="20233"/>
                    <a:pt x="389516" y="20233"/>
                    <a:pt x="389516" y="20233"/>
                  </a:cubicBezTo>
                  <a:lnTo>
                    <a:pt x="389516" y="18968"/>
                  </a:lnTo>
                  <a:lnTo>
                    <a:pt x="389516" y="17704"/>
                  </a:lnTo>
                  <a:lnTo>
                    <a:pt x="389516" y="17704"/>
                  </a:lnTo>
                  <a:lnTo>
                    <a:pt x="389516" y="17704"/>
                  </a:lnTo>
                  <a:lnTo>
                    <a:pt x="389516" y="17704"/>
                  </a:lnTo>
                  <a:lnTo>
                    <a:pt x="360429" y="0"/>
                  </a:lnTo>
                  <a:lnTo>
                    <a:pt x="0" y="189683"/>
                  </a:lnTo>
                  <a:lnTo>
                    <a:pt x="30352" y="207387"/>
                  </a:lnTo>
                  <a:lnTo>
                    <a:pt x="392045" y="412245"/>
                  </a:lnTo>
                  <a:lnTo>
                    <a:pt x="465396" y="371779"/>
                  </a:lnTo>
                  <a:lnTo>
                    <a:pt x="414809" y="35407"/>
                  </a:lnTo>
                  <a:lnTo>
                    <a:pt x="390780" y="21498"/>
                  </a:lnTo>
                  <a:lnTo>
                    <a:pt x="390780" y="21498"/>
                  </a:lnTo>
                  <a:close/>
                </a:path>
              </a:pathLst>
            </a:custGeom>
            <a:solidFill>
              <a:schemeClr val="tx2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C9DF8CAE-04AC-48EC-8136-A1F775294502}"/>
                </a:ext>
              </a:extLst>
            </p:cNvPr>
            <p:cNvSpPr/>
            <p:nvPr/>
          </p:nvSpPr>
          <p:spPr>
            <a:xfrm>
              <a:off x="11195802" y="5110855"/>
              <a:ext cx="85997" cy="379366"/>
            </a:xfrm>
            <a:custGeom>
              <a:avLst/>
              <a:gdLst>
                <a:gd name="connsiteX0" fmla="*/ 63233 w 85997"/>
                <a:gd name="connsiteY0" fmla="*/ 379367 h 379366"/>
                <a:gd name="connsiteX1" fmla="*/ 85997 w 85997"/>
                <a:gd name="connsiteY1" fmla="*/ 367986 h 379366"/>
                <a:gd name="connsiteX2" fmla="*/ 26558 w 85997"/>
                <a:gd name="connsiteY2" fmla="*/ 15174 h 379366"/>
                <a:gd name="connsiteX3" fmla="*/ 0 w 85997"/>
                <a:gd name="connsiteY3" fmla="*/ 0 h 37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997" h="379366">
                  <a:moveTo>
                    <a:pt x="63233" y="379367"/>
                  </a:moveTo>
                  <a:lnTo>
                    <a:pt x="85997" y="367986"/>
                  </a:lnTo>
                  <a:lnTo>
                    <a:pt x="26558" y="1517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F5A395F-5763-4325-BCD6-1599FA7A5EA6}"/>
                </a:ext>
              </a:extLst>
            </p:cNvPr>
            <p:cNvSpPr/>
            <p:nvPr/>
          </p:nvSpPr>
          <p:spPr>
            <a:xfrm>
              <a:off x="11565083" y="4883235"/>
              <a:ext cx="45527" cy="39200"/>
            </a:xfrm>
            <a:custGeom>
              <a:avLst/>
              <a:gdLst>
                <a:gd name="connsiteX0" fmla="*/ 32881 w 45527"/>
                <a:gd name="connsiteY0" fmla="*/ 39201 h 39200"/>
                <a:gd name="connsiteX1" fmla="*/ 45528 w 45527"/>
                <a:gd name="connsiteY1" fmla="*/ 31614 h 39200"/>
                <a:gd name="connsiteX2" fmla="*/ 40469 w 45527"/>
                <a:gd name="connsiteY2" fmla="*/ 0 h 39200"/>
                <a:gd name="connsiteX3" fmla="*/ 0 w 45527"/>
                <a:gd name="connsiteY3" fmla="*/ 21497 h 3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527" h="39200">
                  <a:moveTo>
                    <a:pt x="32881" y="39201"/>
                  </a:moveTo>
                  <a:lnTo>
                    <a:pt x="45528" y="31614"/>
                  </a:lnTo>
                  <a:lnTo>
                    <a:pt x="40469" y="0"/>
                  </a:lnTo>
                  <a:lnTo>
                    <a:pt x="0" y="21497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FEDFD59-C4DF-4F4E-ADCE-25A0095C59BC}"/>
                </a:ext>
              </a:extLst>
            </p:cNvPr>
            <p:cNvSpPr/>
            <p:nvPr/>
          </p:nvSpPr>
          <p:spPr>
            <a:xfrm>
              <a:off x="9755352" y="5349856"/>
              <a:ext cx="601978" cy="1107751"/>
            </a:xfrm>
            <a:custGeom>
              <a:avLst/>
              <a:gdLst>
                <a:gd name="connsiteX0" fmla="*/ 427456 w 601978"/>
                <a:gd name="connsiteY0" fmla="*/ 278202 h 1107751"/>
                <a:gd name="connsiteX1" fmla="*/ 0 w 601978"/>
                <a:gd name="connsiteY1" fmla="*/ 0 h 1107751"/>
                <a:gd name="connsiteX2" fmla="*/ 182111 w 601978"/>
                <a:gd name="connsiteY2" fmla="*/ 811845 h 1107751"/>
                <a:gd name="connsiteX3" fmla="*/ 601979 w 601978"/>
                <a:gd name="connsiteY3" fmla="*/ 1107751 h 1107751"/>
                <a:gd name="connsiteX4" fmla="*/ 513453 w 601978"/>
                <a:gd name="connsiteY4" fmla="*/ 686654 h 1107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1978" h="1107751">
                  <a:moveTo>
                    <a:pt x="427456" y="278202"/>
                  </a:moveTo>
                  <a:lnTo>
                    <a:pt x="0" y="0"/>
                  </a:lnTo>
                  <a:lnTo>
                    <a:pt x="182111" y="811845"/>
                  </a:lnTo>
                  <a:lnTo>
                    <a:pt x="601979" y="1107751"/>
                  </a:lnTo>
                  <a:lnTo>
                    <a:pt x="513453" y="686654"/>
                  </a:lnTo>
                  <a:close/>
                </a:path>
              </a:pathLst>
            </a:custGeom>
            <a:solidFill>
              <a:schemeClr val="accent1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981DE40-2F55-4519-946F-9349960DA6B9}"/>
                </a:ext>
              </a:extLst>
            </p:cNvPr>
            <p:cNvSpPr/>
            <p:nvPr/>
          </p:nvSpPr>
          <p:spPr>
            <a:xfrm>
              <a:off x="9829967" y="5193051"/>
              <a:ext cx="87261" cy="91047"/>
            </a:xfrm>
            <a:custGeom>
              <a:avLst/>
              <a:gdLst>
                <a:gd name="connsiteX0" fmla="*/ 0 w 87261"/>
                <a:gd name="connsiteY0" fmla="*/ 0 h 91047"/>
                <a:gd name="connsiteX1" fmla="*/ 18970 w 87261"/>
                <a:gd name="connsiteY1" fmla="*/ 91048 h 91047"/>
                <a:gd name="connsiteX2" fmla="*/ 87262 w 87261"/>
                <a:gd name="connsiteY2" fmla="*/ 55640 h 91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7261" h="91047">
                  <a:moveTo>
                    <a:pt x="0" y="0"/>
                  </a:moveTo>
                  <a:lnTo>
                    <a:pt x="18970" y="91048"/>
                  </a:lnTo>
                  <a:lnTo>
                    <a:pt x="87262" y="55640"/>
                  </a:lnTo>
                  <a:close/>
                </a:path>
              </a:pathLst>
            </a:custGeom>
            <a:solidFill>
              <a:schemeClr val="accent2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4BC3D8F5-80C4-4697-B45F-D626E920C2E9}"/>
                </a:ext>
              </a:extLst>
            </p:cNvPr>
            <p:cNvSpPr/>
            <p:nvPr/>
          </p:nvSpPr>
          <p:spPr>
            <a:xfrm>
              <a:off x="9231782" y="2481842"/>
              <a:ext cx="975054" cy="2761790"/>
            </a:xfrm>
            <a:custGeom>
              <a:avLst/>
              <a:gdLst>
                <a:gd name="connsiteX0" fmla="*/ 748680 w 975054"/>
                <a:gd name="connsiteY0" fmla="*/ 2735235 h 2761790"/>
                <a:gd name="connsiteX1" fmla="*/ 975054 w 975054"/>
                <a:gd name="connsiteY1" fmla="*/ 2621425 h 2761790"/>
                <a:gd name="connsiteX2" fmla="*/ 938379 w 975054"/>
                <a:gd name="connsiteY2" fmla="*/ 2439329 h 2761790"/>
                <a:gd name="connsiteX3" fmla="*/ 700623 w 975054"/>
                <a:gd name="connsiteY3" fmla="*/ 2296434 h 2761790"/>
                <a:gd name="connsiteX4" fmla="*/ 700623 w 975054"/>
                <a:gd name="connsiteY4" fmla="*/ 2296434 h 2761790"/>
                <a:gd name="connsiteX5" fmla="*/ 700623 w 975054"/>
                <a:gd name="connsiteY5" fmla="*/ 2296434 h 2761790"/>
                <a:gd name="connsiteX6" fmla="*/ 700623 w 975054"/>
                <a:gd name="connsiteY6" fmla="*/ 2296434 h 2761790"/>
                <a:gd name="connsiteX7" fmla="*/ 700623 w 975054"/>
                <a:gd name="connsiteY7" fmla="*/ 2296434 h 2761790"/>
                <a:gd name="connsiteX8" fmla="*/ 700623 w 975054"/>
                <a:gd name="connsiteY8" fmla="*/ 2296434 h 2761790"/>
                <a:gd name="connsiteX9" fmla="*/ 700623 w 975054"/>
                <a:gd name="connsiteY9" fmla="*/ 2296434 h 2761790"/>
                <a:gd name="connsiteX10" fmla="*/ 700623 w 975054"/>
                <a:gd name="connsiteY10" fmla="*/ 2296434 h 2761790"/>
                <a:gd name="connsiteX11" fmla="*/ 700623 w 975054"/>
                <a:gd name="connsiteY11" fmla="*/ 2296434 h 2761790"/>
                <a:gd name="connsiteX12" fmla="*/ 700623 w 975054"/>
                <a:gd name="connsiteY12" fmla="*/ 2296434 h 2761790"/>
                <a:gd name="connsiteX13" fmla="*/ 232698 w 975054"/>
                <a:gd name="connsiteY13" fmla="*/ 101164 h 2761790"/>
                <a:gd name="connsiteX14" fmla="*/ 0 w 975054"/>
                <a:gd name="connsiteY14" fmla="*/ 0 h 2761790"/>
                <a:gd name="connsiteX15" fmla="*/ 541275 w 975054"/>
                <a:gd name="connsiteY15" fmla="*/ 2449445 h 2761790"/>
                <a:gd name="connsiteX16" fmla="*/ 548863 w 975054"/>
                <a:gd name="connsiteY16" fmla="*/ 2483588 h 2761790"/>
                <a:gd name="connsiteX17" fmla="*/ 594391 w 975054"/>
                <a:gd name="connsiteY17" fmla="*/ 2698563 h 2761790"/>
                <a:gd name="connsiteX18" fmla="*/ 695564 w 975054"/>
                <a:gd name="connsiteY18" fmla="*/ 2761791 h 2761790"/>
                <a:gd name="connsiteX19" fmla="*/ 748680 w 975054"/>
                <a:gd name="connsiteY19" fmla="*/ 2735235 h 2761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75054" h="2761790">
                  <a:moveTo>
                    <a:pt x="748680" y="2735235"/>
                  </a:moveTo>
                  <a:lnTo>
                    <a:pt x="975054" y="2621425"/>
                  </a:lnTo>
                  <a:lnTo>
                    <a:pt x="938379" y="2439329"/>
                  </a:lnTo>
                  <a:lnTo>
                    <a:pt x="700623" y="2296434"/>
                  </a:lnTo>
                  <a:lnTo>
                    <a:pt x="700623" y="2296434"/>
                  </a:lnTo>
                  <a:lnTo>
                    <a:pt x="700623" y="2296434"/>
                  </a:lnTo>
                  <a:lnTo>
                    <a:pt x="700623" y="2296434"/>
                  </a:lnTo>
                  <a:lnTo>
                    <a:pt x="700623" y="2296434"/>
                  </a:lnTo>
                  <a:lnTo>
                    <a:pt x="700623" y="2296434"/>
                  </a:lnTo>
                  <a:lnTo>
                    <a:pt x="700623" y="2296434"/>
                  </a:lnTo>
                  <a:lnTo>
                    <a:pt x="700623" y="2296434"/>
                  </a:lnTo>
                  <a:lnTo>
                    <a:pt x="700623" y="2296434"/>
                  </a:lnTo>
                  <a:lnTo>
                    <a:pt x="700623" y="2296434"/>
                  </a:lnTo>
                  <a:lnTo>
                    <a:pt x="232698" y="101164"/>
                  </a:lnTo>
                  <a:lnTo>
                    <a:pt x="0" y="0"/>
                  </a:lnTo>
                  <a:lnTo>
                    <a:pt x="541275" y="2449445"/>
                  </a:lnTo>
                  <a:lnTo>
                    <a:pt x="548863" y="2483588"/>
                  </a:lnTo>
                  <a:lnTo>
                    <a:pt x="594391" y="2698563"/>
                  </a:lnTo>
                  <a:lnTo>
                    <a:pt x="695564" y="2761791"/>
                  </a:lnTo>
                  <a:lnTo>
                    <a:pt x="748680" y="2735235"/>
                  </a:lnTo>
                  <a:close/>
                </a:path>
              </a:pathLst>
            </a:custGeom>
            <a:solidFill>
              <a:schemeClr val="accent5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370ED148-8525-41D3-B3EE-C8089A3C4D5F}"/>
                </a:ext>
              </a:extLst>
            </p:cNvPr>
            <p:cNvSpPr/>
            <p:nvPr/>
          </p:nvSpPr>
          <p:spPr>
            <a:xfrm>
              <a:off x="10179013" y="4856679"/>
              <a:ext cx="165670" cy="242794"/>
            </a:xfrm>
            <a:custGeom>
              <a:avLst/>
              <a:gdLst>
                <a:gd name="connsiteX0" fmla="*/ 130260 w 165670"/>
                <a:gd name="connsiteY0" fmla="*/ 0 h 242794"/>
                <a:gd name="connsiteX1" fmla="*/ 0 w 165670"/>
                <a:gd name="connsiteY1" fmla="*/ 64492 h 242794"/>
                <a:gd name="connsiteX2" fmla="*/ 36675 w 165670"/>
                <a:gd name="connsiteY2" fmla="*/ 242795 h 242794"/>
                <a:gd name="connsiteX3" fmla="*/ 165671 w 165670"/>
                <a:gd name="connsiteY3" fmla="*/ 177038 h 242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5670" h="242794">
                  <a:moveTo>
                    <a:pt x="130260" y="0"/>
                  </a:moveTo>
                  <a:lnTo>
                    <a:pt x="0" y="64492"/>
                  </a:lnTo>
                  <a:lnTo>
                    <a:pt x="36675" y="242795"/>
                  </a:lnTo>
                  <a:lnTo>
                    <a:pt x="165671" y="177038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1CC5D806-C8C4-444A-882B-41D5955C5AA7}"/>
                </a:ext>
              </a:extLst>
            </p:cNvPr>
            <p:cNvSpPr/>
            <p:nvPr/>
          </p:nvSpPr>
          <p:spPr>
            <a:xfrm>
              <a:off x="9945051" y="4608826"/>
              <a:ext cx="766384" cy="345223"/>
            </a:xfrm>
            <a:custGeom>
              <a:avLst/>
              <a:gdLst>
                <a:gd name="connsiteX0" fmla="*/ 366752 w 766384"/>
                <a:gd name="connsiteY0" fmla="*/ 236472 h 345223"/>
                <a:gd name="connsiteX1" fmla="*/ 369281 w 766384"/>
                <a:gd name="connsiteY1" fmla="*/ 236472 h 345223"/>
                <a:gd name="connsiteX2" fmla="*/ 370546 w 766384"/>
                <a:gd name="connsiteY2" fmla="*/ 236472 h 345223"/>
                <a:gd name="connsiteX3" fmla="*/ 370546 w 766384"/>
                <a:gd name="connsiteY3" fmla="*/ 236472 h 345223"/>
                <a:gd name="connsiteX4" fmla="*/ 557716 w 766384"/>
                <a:gd name="connsiteY4" fmla="*/ 345224 h 345223"/>
                <a:gd name="connsiteX5" fmla="*/ 766385 w 766384"/>
                <a:gd name="connsiteY5" fmla="*/ 240266 h 345223"/>
                <a:gd name="connsiteX6" fmla="*/ 343988 w 766384"/>
                <a:gd name="connsiteY6" fmla="*/ 0 h 345223"/>
                <a:gd name="connsiteX7" fmla="*/ 0 w 766384"/>
                <a:gd name="connsiteY7" fmla="*/ 165657 h 345223"/>
                <a:gd name="connsiteX8" fmla="*/ 230168 w 766384"/>
                <a:gd name="connsiteY8" fmla="*/ 303493 h 345223"/>
                <a:gd name="connsiteX9" fmla="*/ 366752 w 766384"/>
                <a:gd name="connsiteY9" fmla="*/ 236472 h 345223"/>
                <a:gd name="connsiteX10" fmla="*/ 366752 w 766384"/>
                <a:gd name="connsiteY10" fmla="*/ 236472 h 34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66384" h="345223">
                  <a:moveTo>
                    <a:pt x="366752" y="236472"/>
                  </a:moveTo>
                  <a:lnTo>
                    <a:pt x="369281" y="236472"/>
                  </a:lnTo>
                  <a:lnTo>
                    <a:pt x="370546" y="236472"/>
                  </a:lnTo>
                  <a:lnTo>
                    <a:pt x="370546" y="236472"/>
                  </a:lnTo>
                  <a:lnTo>
                    <a:pt x="557716" y="345224"/>
                  </a:lnTo>
                  <a:lnTo>
                    <a:pt x="766385" y="240266"/>
                  </a:lnTo>
                  <a:lnTo>
                    <a:pt x="343988" y="0"/>
                  </a:lnTo>
                  <a:lnTo>
                    <a:pt x="0" y="165657"/>
                  </a:lnTo>
                  <a:lnTo>
                    <a:pt x="230168" y="303493"/>
                  </a:lnTo>
                  <a:lnTo>
                    <a:pt x="366752" y="236472"/>
                  </a:lnTo>
                  <a:lnTo>
                    <a:pt x="366752" y="236472"/>
                  </a:lnTo>
                  <a:close/>
                </a:path>
              </a:pathLst>
            </a:custGeom>
            <a:solidFill>
              <a:schemeClr val="bg2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1D88732-D54E-4DE5-A67E-42B508EE1919}"/>
                </a:ext>
              </a:extLst>
            </p:cNvPr>
            <p:cNvSpPr/>
            <p:nvPr/>
          </p:nvSpPr>
          <p:spPr>
            <a:xfrm>
              <a:off x="10319391" y="4859208"/>
              <a:ext cx="171994" cy="170715"/>
            </a:xfrm>
            <a:custGeom>
              <a:avLst/>
              <a:gdLst>
                <a:gd name="connsiteX0" fmla="*/ 34146 w 171994"/>
                <a:gd name="connsiteY0" fmla="*/ 170715 h 170715"/>
                <a:gd name="connsiteX1" fmla="*/ 171994 w 171994"/>
                <a:gd name="connsiteY1" fmla="*/ 101164 h 170715"/>
                <a:gd name="connsiteX2" fmla="*/ 0 w 171994"/>
                <a:gd name="connsiteY2" fmla="*/ 0 h 17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1994" h="170715">
                  <a:moveTo>
                    <a:pt x="34146" y="170715"/>
                  </a:moveTo>
                  <a:lnTo>
                    <a:pt x="171994" y="1011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5F3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9E241F14-722A-46E0-9B6B-7239268D3309}"/>
                </a:ext>
              </a:extLst>
            </p:cNvPr>
            <p:cNvSpPr/>
            <p:nvPr/>
          </p:nvSpPr>
          <p:spPr>
            <a:xfrm>
              <a:off x="9757881" y="5227194"/>
              <a:ext cx="657624" cy="393277"/>
            </a:xfrm>
            <a:custGeom>
              <a:avLst/>
              <a:gdLst>
                <a:gd name="connsiteX0" fmla="*/ 657624 w 657624"/>
                <a:gd name="connsiteY0" fmla="*/ 273144 h 393277"/>
                <a:gd name="connsiteX1" fmla="*/ 223845 w 657624"/>
                <a:gd name="connsiteY1" fmla="*/ 0 h 393277"/>
                <a:gd name="connsiteX2" fmla="*/ 171994 w 657624"/>
                <a:gd name="connsiteY2" fmla="*/ 26556 h 393277"/>
                <a:gd name="connsiteX3" fmla="*/ 91056 w 657624"/>
                <a:gd name="connsiteY3" fmla="*/ 67022 h 393277"/>
                <a:gd name="connsiteX4" fmla="*/ 0 w 657624"/>
                <a:gd name="connsiteY4" fmla="*/ 113810 h 393277"/>
                <a:gd name="connsiteX5" fmla="*/ 428720 w 657624"/>
                <a:gd name="connsiteY5" fmla="*/ 393277 h 393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57624" h="393277">
                  <a:moveTo>
                    <a:pt x="657624" y="273144"/>
                  </a:moveTo>
                  <a:lnTo>
                    <a:pt x="223845" y="0"/>
                  </a:lnTo>
                  <a:lnTo>
                    <a:pt x="171994" y="26556"/>
                  </a:lnTo>
                  <a:lnTo>
                    <a:pt x="91056" y="67022"/>
                  </a:lnTo>
                  <a:lnTo>
                    <a:pt x="0" y="113810"/>
                  </a:lnTo>
                  <a:lnTo>
                    <a:pt x="428720" y="393277"/>
                  </a:lnTo>
                  <a:close/>
                </a:path>
              </a:pathLst>
            </a:custGeom>
            <a:solidFill>
              <a:schemeClr val="tx2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D7A41D3E-5721-41C2-90F0-AB660DF5DDBA}"/>
                </a:ext>
              </a:extLst>
            </p:cNvPr>
            <p:cNvSpPr/>
            <p:nvPr/>
          </p:nvSpPr>
          <p:spPr>
            <a:xfrm>
              <a:off x="10276393" y="5506661"/>
              <a:ext cx="975054" cy="956004"/>
            </a:xfrm>
            <a:custGeom>
              <a:avLst/>
              <a:gdLst>
                <a:gd name="connsiteX0" fmla="*/ 327547 w 975054"/>
                <a:gd name="connsiteY0" fmla="*/ 362928 h 956004"/>
                <a:gd name="connsiteX1" fmla="*/ 327547 w 975054"/>
                <a:gd name="connsiteY1" fmla="*/ 362928 h 956004"/>
                <a:gd name="connsiteX2" fmla="*/ 327547 w 975054"/>
                <a:gd name="connsiteY2" fmla="*/ 360398 h 956004"/>
                <a:gd name="connsiteX3" fmla="*/ 327547 w 975054"/>
                <a:gd name="connsiteY3" fmla="*/ 359134 h 956004"/>
                <a:gd name="connsiteX4" fmla="*/ 327547 w 975054"/>
                <a:gd name="connsiteY4" fmla="*/ 359134 h 956004"/>
                <a:gd name="connsiteX5" fmla="*/ 327547 w 975054"/>
                <a:gd name="connsiteY5" fmla="*/ 359134 h 956004"/>
                <a:gd name="connsiteX6" fmla="*/ 327547 w 975054"/>
                <a:gd name="connsiteY6" fmla="*/ 359134 h 956004"/>
                <a:gd name="connsiteX7" fmla="*/ 328812 w 975054"/>
                <a:gd name="connsiteY7" fmla="*/ 359134 h 956004"/>
                <a:gd name="connsiteX8" fmla="*/ 328812 w 975054"/>
                <a:gd name="connsiteY8" fmla="*/ 359134 h 956004"/>
                <a:gd name="connsiteX9" fmla="*/ 328812 w 975054"/>
                <a:gd name="connsiteY9" fmla="*/ 359134 h 956004"/>
                <a:gd name="connsiteX10" fmla="*/ 975054 w 975054"/>
                <a:gd name="connsiteY10" fmla="*/ 5058 h 956004"/>
                <a:gd name="connsiteX11" fmla="*/ 973790 w 975054"/>
                <a:gd name="connsiteY11" fmla="*/ 0 h 956004"/>
                <a:gd name="connsiteX12" fmla="*/ 0 w 975054"/>
                <a:gd name="connsiteY12" fmla="*/ 533643 h 956004"/>
                <a:gd name="connsiteX13" fmla="*/ 88526 w 975054"/>
                <a:gd name="connsiteY13" fmla="*/ 956004 h 956004"/>
                <a:gd name="connsiteX14" fmla="*/ 405956 w 975054"/>
                <a:gd name="connsiteY14" fmla="*/ 775173 h 956004"/>
                <a:gd name="connsiteX15" fmla="*/ 325018 w 975054"/>
                <a:gd name="connsiteY15" fmla="*/ 365457 h 956004"/>
                <a:gd name="connsiteX16" fmla="*/ 327547 w 975054"/>
                <a:gd name="connsiteY16" fmla="*/ 362928 h 956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75054" h="956004">
                  <a:moveTo>
                    <a:pt x="327547" y="362928"/>
                  </a:moveTo>
                  <a:lnTo>
                    <a:pt x="327547" y="362928"/>
                  </a:lnTo>
                  <a:lnTo>
                    <a:pt x="327547" y="360398"/>
                  </a:lnTo>
                  <a:cubicBezTo>
                    <a:pt x="327547" y="360398"/>
                    <a:pt x="327547" y="360398"/>
                    <a:pt x="327547" y="359134"/>
                  </a:cubicBezTo>
                  <a:lnTo>
                    <a:pt x="327547" y="359134"/>
                  </a:lnTo>
                  <a:lnTo>
                    <a:pt x="327547" y="359134"/>
                  </a:lnTo>
                  <a:lnTo>
                    <a:pt x="327547" y="359134"/>
                  </a:lnTo>
                  <a:lnTo>
                    <a:pt x="328812" y="359134"/>
                  </a:lnTo>
                  <a:lnTo>
                    <a:pt x="328812" y="359134"/>
                  </a:lnTo>
                  <a:lnTo>
                    <a:pt x="328812" y="359134"/>
                  </a:lnTo>
                  <a:lnTo>
                    <a:pt x="975054" y="5058"/>
                  </a:lnTo>
                  <a:lnTo>
                    <a:pt x="973790" y="0"/>
                  </a:lnTo>
                  <a:lnTo>
                    <a:pt x="0" y="533643"/>
                  </a:lnTo>
                  <a:lnTo>
                    <a:pt x="88526" y="956004"/>
                  </a:lnTo>
                  <a:lnTo>
                    <a:pt x="405956" y="775173"/>
                  </a:lnTo>
                  <a:lnTo>
                    <a:pt x="325018" y="365457"/>
                  </a:lnTo>
                  <a:lnTo>
                    <a:pt x="327547" y="362928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2C2E32D1-E6D4-4F93-9BD0-4C52A4EF8249}"/>
                </a:ext>
              </a:extLst>
            </p:cNvPr>
            <p:cNvSpPr/>
            <p:nvPr/>
          </p:nvSpPr>
          <p:spPr>
            <a:xfrm>
              <a:off x="11506908" y="4526630"/>
              <a:ext cx="97379" cy="369250"/>
            </a:xfrm>
            <a:custGeom>
              <a:avLst/>
              <a:gdLst>
                <a:gd name="connsiteX0" fmla="*/ 48057 w 97379"/>
                <a:gd name="connsiteY0" fmla="*/ 25291 h 369250"/>
                <a:gd name="connsiteX1" fmla="*/ 0 w 97379"/>
                <a:gd name="connsiteY1" fmla="*/ 0 h 369250"/>
                <a:gd name="connsiteX2" fmla="*/ 55645 w 97379"/>
                <a:gd name="connsiteY2" fmla="*/ 369251 h 369250"/>
                <a:gd name="connsiteX3" fmla="*/ 97379 w 97379"/>
                <a:gd name="connsiteY3" fmla="*/ 346488 h 36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379" h="369250">
                  <a:moveTo>
                    <a:pt x="48057" y="25291"/>
                  </a:moveTo>
                  <a:lnTo>
                    <a:pt x="0" y="0"/>
                  </a:lnTo>
                  <a:lnTo>
                    <a:pt x="55645" y="369251"/>
                  </a:lnTo>
                  <a:lnTo>
                    <a:pt x="97379" y="346488"/>
                  </a:lnTo>
                  <a:close/>
                </a:path>
              </a:pathLst>
            </a:custGeom>
            <a:solidFill>
              <a:schemeClr val="accent1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2F743DF4-15B7-4319-BC16-009A831534DF}"/>
                </a:ext>
              </a:extLst>
            </p:cNvPr>
            <p:cNvSpPr/>
            <p:nvPr/>
          </p:nvSpPr>
          <p:spPr>
            <a:xfrm>
              <a:off x="11451263" y="4145998"/>
              <a:ext cx="102437" cy="394541"/>
            </a:xfrm>
            <a:custGeom>
              <a:avLst/>
              <a:gdLst>
                <a:gd name="connsiteX0" fmla="*/ 42998 w 102437"/>
                <a:gd name="connsiteY0" fmla="*/ 0 h 394541"/>
                <a:gd name="connsiteX1" fmla="*/ 0 w 102437"/>
                <a:gd name="connsiteY1" fmla="*/ 21498 h 394541"/>
                <a:gd name="connsiteX2" fmla="*/ 53116 w 102437"/>
                <a:gd name="connsiteY2" fmla="*/ 369251 h 394541"/>
                <a:gd name="connsiteX3" fmla="*/ 102438 w 102437"/>
                <a:gd name="connsiteY3" fmla="*/ 394542 h 394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437" h="394541">
                  <a:moveTo>
                    <a:pt x="42998" y="0"/>
                  </a:moveTo>
                  <a:lnTo>
                    <a:pt x="0" y="21498"/>
                  </a:lnTo>
                  <a:lnTo>
                    <a:pt x="53116" y="369251"/>
                  </a:lnTo>
                  <a:lnTo>
                    <a:pt x="102438" y="394542"/>
                  </a:lnTo>
                  <a:close/>
                </a:path>
              </a:pathLst>
            </a:custGeom>
            <a:solidFill>
              <a:schemeClr val="accent2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F2414EA-04ED-49FC-B9E8-D93418098B85}"/>
                </a:ext>
              </a:extLst>
            </p:cNvPr>
            <p:cNvSpPr/>
            <p:nvPr/>
          </p:nvSpPr>
          <p:spPr>
            <a:xfrm>
              <a:off x="10873313" y="251166"/>
              <a:ext cx="795472" cy="3906213"/>
            </a:xfrm>
            <a:custGeom>
              <a:avLst/>
              <a:gdLst>
                <a:gd name="connsiteX0" fmla="*/ 576686 w 795472"/>
                <a:gd name="connsiteY0" fmla="*/ 3906214 h 3906213"/>
                <a:gd name="connsiteX1" fmla="*/ 619684 w 795472"/>
                <a:gd name="connsiteY1" fmla="*/ 3885981 h 3906213"/>
                <a:gd name="connsiteX2" fmla="*/ 534952 w 795472"/>
                <a:gd name="connsiteY2" fmla="*/ 3321989 h 3906213"/>
                <a:gd name="connsiteX3" fmla="*/ 534952 w 795472"/>
                <a:gd name="connsiteY3" fmla="*/ 3321989 h 3906213"/>
                <a:gd name="connsiteX4" fmla="*/ 534952 w 795472"/>
                <a:gd name="connsiteY4" fmla="*/ 3321989 h 3906213"/>
                <a:gd name="connsiteX5" fmla="*/ 534952 w 795472"/>
                <a:gd name="connsiteY5" fmla="*/ 3321989 h 3906213"/>
                <a:gd name="connsiteX6" fmla="*/ 534952 w 795472"/>
                <a:gd name="connsiteY6" fmla="*/ 3320724 h 3906213"/>
                <a:gd name="connsiteX7" fmla="*/ 534952 w 795472"/>
                <a:gd name="connsiteY7" fmla="*/ 3320724 h 3906213"/>
                <a:gd name="connsiteX8" fmla="*/ 534952 w 795472"/>
                <a:gd name="connsiteY8" fmla="*/ 3320724 h 3906213"/>
                <a:gd name="connsiteX9" fmla="*/ 534952 w 795472"/>
                <a:gd name="connsiteY9" fmla="*/ 3320724 h 3906213"/>
                <a:gd name="connsiteX10" fmla="*/ 534952 w 795472"/>
                <a:gd name="connsiteY10" fmla="*/ 3320724 h 3906213"/>
                <a:gd name="connsiteX11" fmla="*/ 534952 w 795472"/>
                <a:gd name="connsiteY11" fmla="*/ 3320724 h 3906213"/>
                <a:gd name="connsiteX12" fmla="*/ 534952 w 795472"/>
                <a:gd name="connsiteY12" fmla="*/ 3320724 h 3906213"/>
                <a:gd name="connsiteX13" fmla="*/ 536217 w 795472"/>
                <a:gd name="connsiteY13" fmla="*/ 3320724 h 3906213"/>
                <a:gd name="connsiteX14" fmla="*/ 536217 w 795472"/>
                <a:gd name="connsiteY14" fmla="*/ 3320724 h 3906213"/>
                <a:gd name="connsiteX15" fmla="*/ 733504 w 795472"/>
                <a:gd name="connsiteY15" fmla="*/ 3229676 h 3906213"/>
                <a:gd name="connsiteX16" fmla="*/ 689241 w 795472"/>
                <a:gd name="connsiteY16" fmla="*/ 2914802 h 3906213"/>
                <a:gd name="connsiteX17" fmla="*/ 689241 w 795472"/>
                <a:gd name="connsiteY17" fmla="*/ 2914802 h 3906213"/>
                <a:gd name="connsiteX18" fmla="*/ 689241 w 795472"/>
                <a:gd name="connsiteY18" fmla="*/ 2914802 h 3906213"/>
                <a:gd name="connsiteX19" fmla="*/ 689241 w 795472"/>
                <a:gd name="connsiteY19" fmla="*/ 2914802 h 3906213"/>
                <a:gd name="connsiteX20" fmla="*/ 689241 w 795472"/>
                <a:gd name="connsiteY20" fmla="*/ 2914802 h 3906213"/>
                <a:gd name="connsiteX21" fmla="*/ 689241 w 795472"/>
                <a:gd name="connsiteY21" fmla="*/ 2913537 h 3906213"/>
                <a:gd name="connsiteX22" fmla="*/ 689241 w 795472"/>
                <a:gd name="connsiteY22" fmla="*/ 2913537 h 3906213"/>
                <a:gd name="connsiteX23" fmla="*/ 689241 w 795472"/>
                <a:gd name="connsiteY23" fmla="*/ 2913537 h 3906213"/>
                <a:gd name="connsiteX24" fmla="*/ 689241 w 795472"/>
                <a:gd name="connsiteY24" fmla="*/ 2913537 h 3906213"/>
                <a:gd name="connsiteX25" fmla="*/ 689241 w 795472"/>
                <a:gd name="connsiteY25" fmla="*/ 2913537 h 3906213"/>
                <a:gd name="connsiteX26" fmla="*/ 689241 w 795472"/>
                <a:gd name="connsiteY26" fmla="*/ 2913537 h 3906213"/>
                <a:gd name="connsiteX27" fmla="*/ 689241 w 795472"/>
                <a:gd name="connsiteY27" fmla="*/ 2913537 h 3906213"/>
                <a:gd name="connsiteX28" fmla="*/ 690505 w 795472"/>
                <a:gd name="connsiteY28" fmla="*/ 2913537 h 3906213"/>
                <a:gd name="connsiteX29" fmla="*/ 690505 w 795472"/>
                <a:gd name="connsiteY29" fmla="*/ 2913537 h 3906213"/>
                <a:gd name="connsiteX30" fmla="*/ 795472 w 795472"/>
                <a:gd name="connsiteY30" fmla="*/ 2866749 h 3906213"/>
                <a:gd name="connsiteX31" fmla="*/ 660153 w 795472"/>
                <a:gd name="connsiteY31" fmla="*/ 1899363 h 3906213"/>
                <a:gd name="connsiteX32" fmla="*/ 637389 w 795472"/>
                <a:gd name="connsiteY32" fmla="*/ 1729913 h 3906213"/>
                <a:gd name="connsiteX33" fmla="*/ 402162 w 795472"/>
                <a:gd name="connsiteY33" fmla="*/ 0 h 3906213"/>
                <a:gd name="connsiteX34" fmla="*/ 0 w 795472"/>
                <a:gd name="connsiteY34" fmla="*/ 120133 h 3906213"/>
                <a:gd name="connsiteX35" fmla="*/ 576686 w 795472"/>
                <a:gd name="connsiteY35" fmla="*/ 3906214 h 3906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795472" h="3906213">
                  <a:moveTo>
                    <a:pt x="576686" y="3906214"/>
                  </a:moveTo>
                  <a:lnTo>
                    <a:pt x="619684" y="3885981"/>
                  </a:lnTo>
                  <a:lnTo>
                    <a:pt x="534952" y="3321989"/>
                  </a:lnTo>
                  <a:lnTo>
                    <a:pt x="534952" y="3321989"/>
                  </a:lnTo>
                  <a:lnTo>
                    <a:pt x="534952" y="3321989"/>
                  </a:lnTo>
                  <a:cubicBezTo>
                    <a:pt x="534952" y="3321989"/>
                    <a:pt x="534952" y="3321989"/>
                    <a:pt x="534952" y="3321989"/>
                  </a:cubicBezTo>
                  <a:cubicBezTo>
                    <a:pt x="534952" y="3321989"/>
                    <a:pt x="534952" y="3321989"/>
                    <a:pt x="534952" y="3320724"/>
                  </a:cubicBezTo>
                  <a:lnTo>
                    <a:pt x="534952" y="3320724"/>
                  </a:lnTo>
                  <a:lnTo>
                    <a:pt x="534952" y="3320724"/>
                  </a:lnTo>
                  <a:lnTo>
                    <a:pt x="534952" y="3320724"/>
                  </a:lnTo>
                  <a:lnTo>
                    <a:pt x="534952" y="3320724"/>
                  </a:lnTo>
                  <a:lnTo>
                    <a:pt x="534952" y="3320724"/>
                  </a:lnTo>
                  <a:lnTo>
                    <a:pt x="534952" y="3320724"/>
                  </a:lnTo>
                  <a:lnTo>
                    <a:pt x="536217" y="3320724"/>
                  </a:lnTo>
                  <a:lnTo>
                    <a:pt x="536217" y="3320724"/>
                  </a:lnTo>
                  <a:lnTo>
                    <a:pt x="733504" y="3229676"/>
                  </a:lnTo>
                  <a:lnTo>
                    <a:pt x="689241" y="2914802"/>
                  </a:lnTo>
                  <a:lnTo>
                    <a:pt x="689241" y="2914802"/>
                  </a:lnTo>
                  <a:lnTo>
                    <a:pt x="689241" y="2914802"/>
                  </a:lnTo>
                  <a:lnTo>
                    <a:pt x="689241" y="2914802"/>
                  </a:lnTo>
                  <a:lnTo>
                    <a:pt x="689241" y="2914802"/>
                  </a:lnTo>
                  <a:cubicBezTo>
                    <a:pt x="689241" y="2914802"/>
                    <a:pt x="689241" y="2914802"/>
                    <a:pt x="689241" y="2913537"/>
                  </a:cubicBezTo>
                  <a:lnTo>
                    <a:pt x="689241" y="2913537"/>
                  </a:lnTo>
                  <a:lnTo>
                    <a:pt x="689241" y="2913537"/>
                  </a:lnTo>
                  <a:lnTo>
                    <a:pt x="689241" y="2913537"/>
                  </a:lnTo>
                  <a:lnTo>
                    <a:pt x="689241" y="2913537"/>
                  </a:lnTo>
                  <a:lnTo>
                    <a:pt x="689241" y="2913537"/>
                  </a:lnTo>
                  <a:lnTo>
                    <a:pt x="689241" y="2913537"/>
                  </a:lnTo>
                  <a:lnTo>
                    <a:pt x="690505" y="2913537"/>
                  </a:lnTo>
                  <a:lnTo>
                    <a:pt x="690505" y="2913537"/>
                  </a:lnTo>
                  <a:lnTo>
                    <a:pt x="795472" y="2866749"/>
                  </a:lnTo>
                  <a:lnTo>
                    <a:pt x="660153" y="1899363"/>
                  </a:lnTo>
                  <a:lnTo>
                    <a:pt x="637389" y="1729913"/>
                  </a:lnTo>
                  <a:lnTo>
                    <a:pt x="402162" y="0"/>
                  </a:lnTo>
                  <a:lnTo>
                    <a:pt x="0" y="120133"/>
                  </a:lnTo>
                  <a:lnTo>
                    <a:pt x="576686" y="3906214"/>
                  </a:lnTo>
                  <a:close/>
                </a:path>
              </a:pathLst>
            </a:custGeom>
            <a:solidFill>
              <a:schemeClr val="accent1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55E32A27-6FE6-4843-9523-7CCE772ACBF8}"/>
                </a:ext>
              </a:extLst>
            </p:cNvPr>
            <p:cNvSpPr/>
            <p:nvPr/>
          </p:nvSpPr>
          <p:spPr>
            <a:xfrm>
              <a:off x="11260299" y="5487692"/>
              <a:ext cx="24028" cy="17703"/>
            </a:xfrm>
            <a:custGeom>
              <a:avLst/>
              <a:gdLst>
                <a:gd name="connsiteX0" fmla="*/ 0 w 24028"/>
                <a:gd name="connsiteY0" fmla="*/ 12646 h 17703"/>
                <a:gd name="connsiteX1" fmla="*/ 1265 w 24028"/>
                <a:gd name="connsiteY1" fmla="*/ 17704 h 17703"/>
                <a:gd name="connsiteX2" fmla="*/ 24029 w 24028"/>
                <a:gd name="connsiteY2" fmla="*/ 5058 h 17703"/>
                <a:gd name="connsiteX3" fmla="*/ 22764 w 24028"/>
                <a:gd name="connsiteY3" fmla="*/ 0 h 17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028" h="17703">
                  <a:moveTo>
                    <a:pt x="0" y="12646"/>
                  </a:moveTo>
                  <a:lnTo>
                    <a:pt x="1265" y="17704"/>
                  </a:lnTo>
                  <a:lnTo>
                    <a:pt x="24029" y="5058"/>
                  </a:lnTo>
                  <a:lnTo>
                    <a:pt x="22764" y="0"/>
                  </a:lnTo>
                  <a:close/>
                </a:path>
              </a:pathLst>
            </a:custGeom>
            <a:solidFill>
              <a:srgbClr val="F2494C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F8F9B260-9EE2-4535-A676-3A9A7B8D65F7}"/>
                </a:ext>
              </a:extLst>
            </p:cNvPr>
            <p:cNvSpPr/>
            <p:nvPr/>
          </p:nvSpPr>
          <p:spPr>
            <a:xfrm>
              <a:off x="11233741" y="5132352"/>
              <a:ext cx="830882" cy="815638"/>
            </a:xfrm>
            <a:custGeom>
              <a:avLst/>
              <a:gdLst>
                <a:gd name="connsiteX0" fmla="*/ 0 w 830882"/>
                <a:gd name="connsiteY0" fmla="*/ 0 h 815638"/>
                <a:gd name="connsiteX1" fmla="*/ 56910 w 830882"/>
                <a:gd name="connsiteY1" fmla="*/ 347753 h 815638"/>
                <a:gd name="connsiteX2" fmla="*/ 59439 w 830882"/>
                <a:gd name="connsiteY2" fmla="*/ 360398 h 815638"/>
                <a:gd name="connsiteX3" fmla="*/ 830883 w 830882"/>
                <a:gd name="connsiteY3" fmla="*/ 815639 h 815638"/>
                <a:gd name="connsiteX4" fmla="*/ 779032 w 830882"/>
                <a:gd name="connsiteY4" fmla="*/ 441330 h 815638"/>
                <a:gd name="connsiteX5" fmla="*/ 355370 w 830882"/>
                <a:gd name="connsiteY5" fmla="*/ 201064 h 815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0882" h="815638">
                  <a:moveTo>
                    <a:pt x="0" y="0"/>
                  </a:moveTo>
                  <a:lnTo>
                    <a:pt x="56910" y="347753"/>
                  </a:lnTo>
                  <a:lnTo>
                    <a:pt x="59439" y="360398"/>
                  </a:lnTo>
                  <a:lnTo>
                    <a:pt x="830883" y="815639"/>
                  </a:lnTo>
                  <a:lnTo>
                    <a:pt x="779032" y="441330"/>
                  </a:lnTo>
                  <a:lnTo>
                    <a:pt x="355370" y="201064"/>
                  </a:lnTo>
                  <a:close/>
                </a:path>
              </a:pathLst>
            </a:custGeom>
            <a:solidFill>
              <a:schemeClr val="accent5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4B5B040-0122-495E-B56A-E773D61FBAE6}"/>
                </a:ext>
              </a:extLst>
            </p:cNvPr>
            <p:cNvSpPr/>
            <p:nvPr/>
          </p:nvSpPr>
          <p:spPr>
            <a:xfrm>
              <a:off x="12022890" y="5462401"/>
              <a:ext cx="194757" cy="486854"/>
            </a:xfrm>
            <a:custGeom>
              <a:avLst/>
              <a:gdLst>
                <a:gd name="connsiteX0" fmla="*/ 0 w 194757"/>
                <a:gd name="connsiteY0" fmla="*/ 111281 h 486854"/>
                <a:gd name="connsiteX1" fmla="*/ 51851 w 194757"/>
                <a:gd name="connsiteY1" fmla="*/ 486854 h 486854"/>
                <a:gd name="connsiteX2" fmla="*/ 194758 w 194757"/>
                <a:gd name="connsiteY2" fmla="*/ 402129 h 486854"/>
                <a:gd name="connsiteX3" fmla="*/ 194758 w 194757"/>
                <a:gd name="connsiteY3" fmla="*/ 0 h 486854"/>
                <a:gd name="connsiteX4" fmla="*/ 75880 w 194757"/>
                <a:gd name="connsiteY4" fmla="*/ 67021 h 486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757" h="486854">
                  <a:moveTo>
                    <a:pt x="0" y="111281"/>
                  </a:moveTo>
                  <a:lnTo>
                    <a:pt x="51851" y="486854"/>
                  </a:lnTo>
                  <a:lnTo>
                    <a:pt x="194758" y="402129"/>
                  </a:lnTo>
                  <a:lnTo>
                    <a:pt x="194758" y="0"/>
                  </a:lnTo>
                  <a:lnTo>
                    <a:pt x="75880" y="67021"/>
                  </a:lnTo>
                  <a:close/>
                </a:path>
              </a:pathLst>
            </a:custGeom>
            <a:solidFill>
              <a:schemeClr val="accent5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59DC7F6B-2347-45E0-8421-A83B5307BCE6}"/>
                </a:ext>
              </a:extLst>
            </p:cNvPr>
            <p:cNvSpPr/>
            <p:nvPr/>
          </p:nvSpPr>
          <p:spPr>
            <a:xfrm>
              <a:off x="11600493" y="5291686"/>
              <a:ext cx="486894" cy="274408"/>
            </a:xfrm>
            <a:custGeom>
              <a:avLst/>
              <a:gdLst>
                <a:gd name="connsiteX0" fmla="*/ 0 w 486894"/>
                <a:gd name="connsiteY0" fmla="*/ 37937 h 274408"/>
                <a:gd name="connsiteX1" fmla="*/ 417338 w 486894"/>
                <a:gd name="connsiteY1" fmla="*/ 274409 h 274408"/>
                <a:gd name="connsiteX2" fmla="*/ 486895 w 486894"/>
                <a:gd name="connsiteY2" fmla="*/ 233943 h 274408"/>
                <a:gd name="connsiteX3" fmla="*/ 145436 w 486894"/>
                <a:gd name="connsiteY3" fmla="*/ 42995 h 274408"/>
                <a:gd name="connsiteX4" fmla="*/ 69556 w 486894"/>
                <a:gd name="connsiteY4" fmla="*/ 0 h 274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6894" h="274408">
                  <a:moveTo>
                    <a:pt x="0" y="37937"/>
                  </a:moveTo>
                  <a:lnTo>
                    <a:pt x="417338" y="274409"/>
                  </a:lnTo>
                  <a:lnTo>
                    <a:pt x="486895" y="233943"/>
                  </a:lnTo>
                  <a:lnTo>
                    <a:pt x="145436" y="42995"/>
                  </a:lnTo>
                  <a:lnTo>
                    <a:pt x="69556" y="0"/>
                  </a:lnTo>
                  <a:close/>
                </a:path>
              </a:pathLst>
            </a:custGeom>
            <a:solidFill>
              <a:schemeClr val="accent4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0FBBD5D9-49A3-4CCD-B680-E9230F628713}"/>
                </a:ext>
              </a:extLst>
            </p:cNvPr>
            <p:cNvSpPr/>
            <p:nvPr/>
          </p:nvSpPr>
          <p:spPr>
            <a:xfrm>
              <a:off x="9469538" y="2436318"/>
              <a:ext cx="813177" cy="2331841"/>
            </a:xfrm>
            <a:custGeom>
              <a:avLst/>
              <a:gdLst>
                <a:gd name="connsiteX0" fmla="*/ 466660 w 813177"/>
                <a:gd name="connsiteY0" fmla="*/ 2331842 h 2331841"/>
                <a:gd name="connsiteX1" fmla="*/ 813178 w 813177"/>
                <a:gd name="connsiteY1" fmla="*/ 2164920 h 2331841"/>
                <a:gd name="connsiteX2" fmla="*/ 671535 w 813177"/>
                <a:gd name="connsiteY2" fmla="*/ 1458033 h 2331841"/>
                <a:gd name="connsiteX3" fmla="*/ 624743 w 813177"/>
                <a:gd name="connsiteY3" fmla="*/ 1221561 h 2331841"/>
                <a:gd name="connsiteX4" fmla="*/ 383192 w 813177"/>
                <a:gd name="connsiteY4" fmla="*/ 0 h 2331841"/>
                <a:gd name="connsiteX5" fmla="*/ 0 w 813177"/>
                <a:gd name="connsiteY5" fmla="*/ 144160 h 2331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3177" h="2331841">
                  <a:moveTo>
                    <a:pt x="466660" y="2331842"/>
                  </a:moveTo>
                  <a:lnTo>
                    <a:pt x="813178" y="2164920"/>
                  </a:lnTo>
                  <a:lnTo>
                    <a:pt x="671535" y="1458033"/>
                  </a:lnTo>
                  <a:lnTo>
                    <a:pt x="624743" y="1221561"/>
                  </a:lnTo>
                  <a:lnTo>
                    <a:pt x="383192" y="0"/>
                  </a:lnTo>
                  <a:lnTo>
                    <a:pt x="0" y="144160"/>
                  </a:lnTo>
                  <a:close/>
                </a:path>
              </a:pathLst>
            </a:custGeom>
            <a:solidFill>
              <a:schemeClr val="accent3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D32C74D-87D9-412E-B648-F1C6679A71DD}"/>
                </a:ext>
              </a:extLst>
            </p:cNvPr>
            <p:cNvSpPr/>
            <p:nvPr/>
          </p:nvSpPr>
          <p:spPr>
            <a:xfrm>
              <a:off x="11523349" y="1927967"/>
              <a:ext cx="694299" cy="389483"/>
            </a:xfrm>
            <a:custGeom>
              <a:avLst/>
              <a:gdLst>
                <a:gd name="connsiteX0" fmla="*/ 135319 w 694299"/>
                <a:gd name="connsiteY0" fmla="*/ 21497 h 389483"/>
                <a:gd name="connsiteX1" fmla="*/ 130260 w 694299"/>
                <a:gd name="connsiteY1" fmla="*/ 17704 h 389483"/>
                <a:gd name="connsiteX2" fmla="*/ 130260 w 694299"/>
                <a:gd name="connsiteY2" fmla="*/ 17704 h 389483"/>
                <a:gd name="connsiteX3" fmla="*/ 127731 w 694299"/>
                <a:gd name="connsiteY3" fmla="*/ 0 h 389483"/>
                <a:gd name="connsiteX4" fmla="*/ 0 w 694299"/>
                <a:gd name="connsiteY4" fmla="*/ 49318 h 389483"/>
                <a:gd name="connsiteX5" fmla="*/ 22764 w 694299"/>
                <a:gd name="connsiteY5" fmla="*/ 212445 h 389483"/>
                <a:gd name="connsiteX6" fmla="*/ 532422 w 694299"/>
                <a:gd name="connsiteY6" fmla="*/ 389483 h 389483"/>
                <a:gd name="connsiteX7" fmla="*/ 694299 w 694299"/>
                <a:gd name="connsiteY7" fmla="*/ 322462 h 389483"/>
                <a:gd name="connsiteX8" fmla="*/ 694299 w 694299"/>
                <a:gd name="connsiteY8" fmla="*/ 202329 h 389483"/>
                <a:gd name="connsiteX9" fmla="*/ 139113 w 694299"/>
                <a:gd name="connsiteY9" fmla="*/ 17704 h 389483"/>
                <a:gd name="connsiteX10" fmla="*/ 135319 w 694299"/>
                <a:gd name="connsiteY10" fmla="*/ 21497 h 38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94299" h="389483">
                  <a:moveTo>
                    <a:pt x="135319" y="21497"/>
                  </a:moveTo>
                  <a:cubicBezTo>
                    <a:pt x="132789" y="21497"/>
                    <a:pt x="130260" y="20233"/>
                    <a:pt x="130260" y="17704"/>
                  </a:cubicBezTo>
                  <a:cubicBezTo>
                    <a:pt x="130260" y="17704"/>
                    <a:pt x="130260" y="17704"/>
                    <a:pt x="130260" y="17704"/>
                  </a:cubicBezTo>
                  <a:lnTo>
                    <a:pt x="127731" y="0"/>
                  </a:lnTo>
                  <a:lnTo>
                    <a:pt x="0" y="49318"/>
                  </a:lnTo>
                  <a:lnTo>
                    <a:pt x="22764" y="212445"/>
                  </a:lnTo>
                  <a:lnTo>
                    <a:pt x="532422" y="389483"/>
                  </a:lnTo>
                  <a:lnTo>
                    <a:pt x="694299" y="322462"/>
                  </a:lnTo>
                  <a:lnTo>
                    <a:pt x="694299" y="202329"/>
                  </a:lnTo>
                  <a:lnTo>
                    <a:pt x="139113" y="17704"/>
                  </a:lnTo>
                  <a:cubicBezTo>
                    <a:pt x="137848" y="20233"/>
                    <a:pt x="136584" y="21497"/>
                    <a:pt x="135319" y="21497"/>
                  </a:cubicBezTo>
                  <a:close/>
                </a:path>
              </a:pathLst>
            </a:custGeom>
            <a:solidFill>
              <a:schemeClr val="accent4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30EF2501-3F36-42E6-A007-66F0D4BD7E06}"/>
                </a:ext>
              </a:extLst>
            </p:cNvPr>
            <p:cNvSpPr/>
            <p:nvPr/>
          </p:nvSpPr>
          <p:spPr>
            <a:xfrm>
              <a:off x="11606817" y="1539748"/>
              <a:ext cx="609566" cy="591812"/>
            </a:xfrm>
            <a:custGeom>
              <a:avLst/>
              <a:gdLst>
                <a:gd name="connsiteX0" fmla="*/ 51851 w 609566"/>
                <a:gd name="connsiteY0" fmla="*/ 381896 h 591812"/>
                <a:gd name="connsiteX1" fmla="*/ 51851 w 609566"/>
                <a:gd name="connsiteY1" fmla="*/ 381896 h 591812"/>
                <a:gd name="connsiteX2" fmla="*/ 54380 w 609566"/>
                <a:gd name="connsiteY2" fmla="*/ 404658 h 591812"/>
                <a:gd name="connsiteX3" fmla="*/ 54380 w 609566"/>
                <a:gd name="connsiteY3" fmla="*/ 407187 h 591812"/>
                <a:gd name="connsiteX4" fmla="*/ 609567 w 609566"/>
                <a:gd name="connsiteY4" fmla="*/ 591812 h 591812"/>
                <a:gd name="connsiteX5" fmla="*/ 609567 w 609566"/>
                <a:gd name="connsiteY5" fmla="*/ 185890 h 591812"/>
                <a:gd name="connsiteX6" fmla="*/ 0 w 609566"/>
                <a:gd name="connsiteY6" fmla="*/ 0 h 591812"/>
                <a:gd name="connsiteX7" fmla="*/ 51851 w 609566"/>
                <a:gd name="connsiteY7" fmla="*/ 381896 h 591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9566" h="591812">
                  <a:moveTo>
                    <a:pt x="51851" y="381896"/>
                  </a:moveTo>
                  <a:lnTo>
                    <a:pt x="51851" y="381896"/>
                  </a:lnTo>
                  <a:lnTo>
                    <a:pt x="54380" y="404658"/>
                  </a:lnTo>
                  <a:cubicBezTo>
                    <a:pt x="54380" y="405922"/>
                    <a:pt x="54380" y="405922"/>
                    <a:pt x="54380" y="407187"/>
                  </a:cubicBezTo>
                  <a:lnTo>
                    <a:pt x="609567" y="591812"/>
                  </a:lnTo>
                  <a:lnTo>
                    <a:pt x="609567" y="185890"/>
                  </a:lnTo>
                  <a:lnTo>
                    <a:pt x="0" y="0"/>
                  </a:lnTo>
                  <a:lnTo>
                    <a:pt x="51851" y="381896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2B30D482-4D81-466B-ACE4-9F71544262AA}"/>
                </a:ext>
              </a:extLst>
            </p:cNvPr>
            <p:cNvSpPr/>
            <p:nvPr/>
          </p:nvSpPr>
          <p:spPr>
            <a:xfrm>
              <a:off x="11548642" y="2150529"/>
              <a:ext cx="617154" cy="1109015"/>
            </a:xfrm>
            <a:custGeom>
              <a:avLst/>
              <a:gdLst>
                <a:gd name="connsiteX0" fmla="*/ 183376 w 617154"/>
                <a:gd name="connsiteY0" fmla="*/ 933242 h 1109015"/>
                <a:gd name="connsiteX1" fmla="*/ 183376 w 617154"/>
                <a:gd name="connsiteY1" fmla="*/ 933242 h 1109015"/>
                <a:gd name="connsiteX2" fmla="*/ 184640 w 617154"/>
                <a:gd name="connsiteY2" fmla="*/ 933242 h 1109015"/>
                <a:gd name="connsiteX3" fmla="*/ 185905 w 617154"/>
                <a:gd name="connsiteY3" fmla="*/ 933242 h 1109015"/>
                <a:gd name="connsiteX4" fmla="*/ 187170 w 617154"/>
                <a:gd name="connsiteY4" fmla="*/ 933242 h 1109015"/>
                <a:gd name="connsiteX5" fmla="*/ 187170 w 617154"/>
                <a:gd name="connsiteY5" fmla="*/ 933242 h 1109015"/>
                <a:gd name="connsiteX6" fmla="*/ 617155 w 617154"/>
                <a:gd name="connsiteY6" fmla="*/ 1109016 h 1109015"/>
                <a:gd name="connsiteX7" fmla="*/ 504600 w 617154"/>
                <a:gd name="connsiteY7" fmla="*/ 175773 h 1109015"/>
                <a:gd name="connsiteX8" fmla="*/ 0 w 617154"/>
                <a:gd name="connsiteY8" fmla="*/ 0 h 1109015"/>
                <a:gd name="connsiteX9" fmla="*/ 132789 w 617154"/>
                <a:gd name="connsiteY9" fmla="*/ 957269 h 1109015"/>
                <a:gd name="connsiteX10" fmla="*/ 183376 w 617154"/>
                <a:gd name="connsiteY10" fmla="*/ 933242 h 1109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7154" h="1109015">
                  <a:moveTo>
                    <a:pt x="183376" y="933242"/>
                  </a:moveTo>
                  <a:lnTo>
                    <a:pt x="183376" y="933242"/>
                  </a:lnTo>
                  <a:lnTo>
                    <a:pt x="184640" y="933242"/>
                  </a:lnTo>
                  <a:lnTo>
                    <a:pt x="185905" y="933242"/>
                  </a:lnTo>
                  <a:lnTo>
                    <a:pt x="187170" y="933242"/>
                  </a:lnTo>
                  <a:lnTo>
                    <a:pt x="187170" y="933242"/>
                  </a:lnTo>
                  <a:lnTo>
                    <a:pt x="617155" y="1109016"/>
                  </a:lnTo>
                  <a:lnTo>
                    <a:pt x="504600" y="175773"/>
                  </a:lnTo>
                  <a:lnTo>
                    <a:pt x="0" y="0"/>
                  </a:lnTo>
                  <a:lnTo>
                    <a:pt x="132789" y="957269"/>
                  </a:lnTo>
                  <a:lnTo>
                    <a:pt x="183376" y="933242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0BC32813-FAE2-4C6C-B4A6-E02140F604A8}"/>
                </a:ext>
              </a:extLst>
            </p:cNvPr>
            <p:cNvSpPr/>
            <p:nvPr/>
          </p:nvSpPr>
          <p:spPr>
            <a:xfrm>
              <a:off x="12060830" y="2260545"/>
              <a:ext cx="156817" cy="1020496"/>
            </a:xfrm>
            <a:custGeom>
              <a:avLst/>
              <a:gdLst>
                <a:gd name="connsiteX0" fmla="*/ 113820 w 156817"/>
                <a:gd name="connsiteY0" fmla="*/ 1002793 h 1020496"/>
                <a:gd name="connsiteX1" fmla="*/ 156818 w 156817"/>
                <a:gd name="connsiteY1" fmla="*/ 1020497 h 1020496"/>
                <a:gd name="connsiteX2" fmla="*/ 156818 w 156817"/>
                <a:gd name="connsiteY2" fmla="*/ 0 h 1020496"/>
                <a:gd name="connsiteX3" fmla="*/ 0 w 156817"/>
                <a:gd name="connsiteY3" fmla="*/ 64492 h 1020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817" h="1020496">
                  <a:moveTo>
                    <a:pt x="113820" y="1002793"/>
                  </a:moveTo>
                  <a:lnTo>
                    <a:pt x="156818" y="1020497"/>
                  </a:lnTo>
                  <a:lnTo>
                    <a:pt x="156818" y="0"/>
                  </a:lnTo>
                  <a:lnTo>
                    <a:pt x="0" y="64492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ECC72CF3-F179-4506-942E-A20AA06D573D}"/>
                </a:ext>
              </a:extLst>
            </p:cNvPr>
            <p:cNvSpPr/>
            <p:nvPr/>
          </p:nvSpPr>
          <p:spPr>
            <a:xfrm>
              <a:off x="10629233" y="191731"/>
              <a:ext cx="632330" cy="170715"/>
            </a:xfrm>
            <a:custGeom>
              <a:avLst/>
              <a:gdLst>
                <a:gd name="connsiteX0" fmla="*/ 632331 w 632330"/>
                <a:gd name="connsiteY0" fmla="*/ 54376 h 170715"/>
                <a:gd name="connsiteX1" fmla="*/ 389516 w 632330"/>
                <a:gd name="connsiteY1" fmla="*/ 0 h 170715"/>
                <a:gd name="connsiteX2" fmla="*/ 0 w 632330"/>
                <a:gd name="connsiteY2" fmla="*/ 113810 h 170715"/>
                <a:gd name="connsiteX3" fmla="*/ 239021 w 632330"/>
                <a:gd name="connsiteY3" fmla="*/ 170715 h 17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2330" h="170715">
                  <a:moveTo>
                    <a:pt x="632331" y="54376"/>
                  </a:moveTo>
                  <a:lnTo>
                    <a:pt x="389516" y="0"/>
                  </a:lnTo>
                  <a:lnTo>
                    <a:pt x="0" y="113810"/>
                  </a:lnTo>
                  <a:lnTo>
                    <a:pt x="239021" y="170715"/>
                  </a:lnTo>
                  <a:close/>
                </a:path>
              </a:pathLst>
            </a:custGeom>
            <a:solidFill>
              <a:srgbClr val="F4F5F3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EF366EF2-C851-4803-BC43-4EB732ED25B1}"/>
                </a:ext>
              </a:extLst>
            </p:cNvPr>
            <p:cNvSpPr/>
            <p:nvPr/>
          </p:nvSpPr>
          <p:spPr>
            <a:xfrm>
              <a:off x="9235576" y="2332625"/>
              <a:ext cx="608302" cy="240265"/>
            </a:xfrm>
            <a:custGeom>
              <a:avLst/>
              <a:gdLst>
                <a:gd name="connsiteX0" fmla="*/ 608302 w 608302"/>
                <a:gd name="connsiteY0" fmla="*/ 97371 h 240265"/>
                <a:gd name="connsiteX1" fmla="*/ 375605 w 608302"/>
                <a:gd name="connsiteY1" fmla="*/ 0 h 240265"/>
                <a:gd name="connsiteX2" fmla="*/ 0 w 608302"/>
                <a:gd name="connsiteY2" fmla="*/ 139101 h 240265"/>
                <a:gd name="connsiteX3" fmla="*/ 228904 w 608302"/>
                <a:gd name="connsiteY3" fmla="*/ 240266 h 240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8302" h="240265">
                  <a:moveTo>
                    <a:pt x="608302" y="97371"/>
                  </a:moveTo>
                  <a:lnTo>
                    <a:pt x="375605" y="0"/>
                  </a:lnTo>
                  <a:lnTo>
                    <a:pt x="0" y="139101"/>
                  </a:lnTo>
                  <a:lnTo>
                    <a:pt x="228904" y="240266"/>
                  </a:lnTo>
                  <a:close/>
                </a:path>
              </a:pathLst>
            </a:custGeom>
            <a:solidFill>
              <a:schemeClr val="accent1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8A5592C-23FD-4742-B61E-78849BE5E6BD}"/>
                </a:ext>
              </a:extLst>
            </p:cNvPr>
            <p:cNvSpPr/>
            <p:nvPr/>
          </p:nvSpPr>
          <p:spPr>
            <a:xfrm>
              <a:off x="11608081" y="4924965"/>
              <a:ext cx="3794" cy="5058"/>
            </a:xfrm>
            <a:custGeom>
              <a:avLst/>
              <a:gdLst>
                <a:gd name="connsiteX0" fmla="*/ 3794 w 3794"/>
                <a:gd name="connsiteY0" fmla="*/ 5058 h 5058"/>
                <a:gd name="connsiteX1" fmla="*/ 3794 w 3794"/>
                <a:gd name="connsiteY1" fmla="*/ 0 h 5058"/>
                <a:gd name="connsiteX2" fmla="*/ 0 w 3794"/>
                <a:gd name="connsiteY2" fmla="*/ 2529 h 5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94" h="5058">
                  <a:moveTo>
                    <a:pt x="3794" y="5058"/>
                  </a:moveTo>
                  <a:lnTo>
                    <a:pt x="3794" y="0"/>
                  </a:lnTo>
                  <a:lnTo>
                    <a:pt x="0" y="2529"/>
                  </a:lnTo>
                  <a:close/>
                </a:path>
              </a:pathLst>
            </a:custGeom>
            <a:solidFill>
              <a:srgbClr val="0A4054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E081EBB2-6885-4685-87D6-054AB7ADCDFE}"/>
                </a:ext>
              </a:extLst>
            </p:cNvPr>
            <p:cNvSpPr/>
            <p:nvPr/>
          </p:nvSpPr>
          <p:spPr>
            <a:xfrm>
              <a:off x="10620380" y="5500338"/>
              <a:ext cx="1597267" cy="1093840"/>
            </a:xfrm>
            <a:custGeom>
              <a:avLst/>
              <a:gdLst>
                <a:gd name="connsiteX0" fmla="*/ 1453096 w 1597267"/>
                <a:gd name="connsiteY0" fmla="*/ 460298 h 1093840"/>
                <a:gd name="connsiteX1" fmla="*/ 1453096 w 1597267"/>
                <a:gd name="connsiteY1" fmla="*/ 460298 h 1093840"/>
                <a:gd name="connsiteX2" fmla="*/ 1453096 w 1597267"/>
                <a:gd name="connsiteY2" fmla="*/ 460298 h 1093840"/>
                <a:gd name="connsiteX3" fmla="*/ 1453096 w 1597267"/>
                <a:gd name="connsiteY3" fmla="*/ 460298 h 1093840"/>
                <a:gd name="connsiteX4" fmla="*/ 1450567 w 1597267"/>
                <a:gd name="connsiteY4" fmla="*/ 460298 h 1093840"/>
                <a:gd name="connsiteX5" fmla="*/ 1450567 w 1597267"/>
                <a:gd name="connsiteY5" fmla="*/ 460298 h 1093840"/>
                <a:gd name="connsiteX6" fmla="*/ 1450567 w 1597267"/>
                <a:gd name="connsiteY6" fmla="*/ 460298 h 1093840"/>
                <a:gd name="connsiteX7" fmla="*/ 671535 w 1597267"/>
                <a:gd name="connsiteY7" fmla="*/ 0 h 1093840"/>
                <a:gd name="connsiteX8" fmla="*/ 642448 w 1597267"/>
                <a:gd name="connsiteY8" fmla="*/ 15175 h 1093840"/>
                <a:gd name="connsiteX9" fmla="*/ 0 w 1597267"/>
                <a:gd name="connsiteY9" fmla="*/ 367986 h 1093840"/>
                <a:gd name="connsiteX10" fmla="*/ 1115432 w 1597267"/>
                <a:gd name="connsiteY10" fmla="*/ 1093841 h 1093840"/>
                <a:gd name="connsiteX11" fmla="*/ 1597268 w 1597267"/>
                <a:gd name="connsiteY11" fmla="*/ 797935 h 1093840"/>
                <a:gd name="connsiteX12" fmla="*/ 1597268 w 1597267"/>
                <a:gd name="connsiteY12" fmla="*/ 375573 h 1093840"/>
                <a:gd name="connsiteX13" fmla="*/ 1453096 w 1597267"/>
                <a:gd name="connsiteY13" fmla="*/ 460298 h 1093840"/>
                <a:gd name="connsiteX14" fmla="*/ 1453096 w 1597267"/>
                <a:gd name="connsiteY14" fmla="*/ 460298 h 1093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97267" h="1093840">
                  <a:moveTo>
                    <a:pt x="1453096" y="460298"/>
                  </a:moveTo>
                  <a:lnTo>
                    <a:pt x="1453096" y="460298"/>
                  </a:lnTo>
                  <a:lnTo>
                    <a:pt x="1453096" y="460298"/>
                  </a:lnTo>
                  <a:lnTo>
                    <a:pt x="1453096" y="460298"/>
                  </a:lnTo>
                  <a:lnTo>
                    <a:pt x="1450567" y="460298"/>
                  </a:lnTo>
                  <a:lnTo>
                    <a:pt x="1450567" y="460298"/>
                  </a:lnTo>
                  <a:lnTo>
                    <a:pt x="1450567" y="460298"/>
                  </a:lnTo>
                  <a:lnTo>
                    <a:pt x="671535" y="0"/>
                  </a:lnTo>
                  <a:lnTo>
                    <a:pt x="642448" y="15175"/>
                  </a:lnTo>
                  <a:lnTo>
                    <a:pt x="0" y="367986"/>
                  </a:lnTo>
                  <a:lnTo>
                    <a:pt x="1115432" y="1093841"/>
                  </a:lnTo>
                  <a:lnTo>
                    <a:pt x="1597268" y="797935"/>
                  </a:lnTo>
                  <a:lnTo>
                    <a:pt x="1597268" y="375573"/>
                  </a:lnTo>
                  <a:lnTo>
                    <a:pt x="1453096" y="460298"/>
                  </a:lnTo>
                  <a:lnTo>
                    <a:pt x="1453096" y="460298"/>
                  </a:lnTo>
                  <a:close/>
                </a:path>
              </a:pathLst>
            </a:custGeom>
            <a:solidFill>
              <a:schemeClr val="accent3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788D7ED-ED6D-452D-ADD1-807D9C8494DC}"/>
                </a:ext>
              </a:extLst>
            </p:cNvPr>
            <p:cNvSpPr/>
            <p:nvPr/>
          </p:nvSpPr>
          <p:spPr>
            <a:xfrm>
              <a:off x="11418382" y="3579477"/>
              <a:ext cx="323753" cy="1742558"/>
            </a:xfrm>
            <a:custGeom>
              <a:avLst/>
              <a:gdLst>
                <a:gd name="connsiteX0" fmla="*/ 145436 w 323753"/>
                <a:gd name="connsiteY0" fmla="*/ 968650 h 1742558"/>
                <a:gd name="connsiteX1" fmla="*/ 194758 w 323753"/>
                <a:gd name="connsiteY1" fmla="*/ 1296170 h 1742558"/>
                <a:gd name="connsiteX2" fmla="*/ 201081 w 323753"/>
                <a:gd name="connsiteY2" fmla="*/ 1337900 h 1742558"/>
                <a:gd name="connsiteX3" fmla="*/ 201081 w 323753"/>
                <a:gd name="connsiteY3" fmla="*/ 1337900 h 1742558"/>
                <a:gd name="connsiteX4" fmla="*/ 204875 w 323753"/>
                <a:gd name="connsiteY4" fmla="*/ 1358133 h 1742558"/>
                <a:gd name="connsiteX5" fmla="*/ 204875 w 323753"/>
                <a:gd name="connsiteY5" fmla="*/ 1358133 h 1742558"/>
                <a:gd name="connsiteX6" fmla="*/ 204875 w 323753"/>
                <a:gd name="connsiteY6" fmla="*/ 1358133 h 1742558"/>
                <a:gd name="connsiteX7" fmla="*/ 204875 w 323753"/>
                <a:gd name="connsiteY7" fmla="*/ 1364456 h 1742558"/>
                <a:gd name="connsiteX8" fmla="*/ 256726 w 323753"/>
                <a:gd name="connsiteY8" fmla="*/ 1704621 h 1742558"/>
                <a:gd name="connsiteX9" fmla="*/ 323753 w 323753"/>
                <a:gd name="connsiteY9" fmla="*/ 1742558 h 1742558"/>
                <a:gd name="connsiteX10" fmla="*/ 72086 w 323753"/>
                <a:gd name="connsiteY10" fmla="*/ 32879 h 1742558"/>
                <a:gd name="connsiteX11" fmla="*/ 0 w 323753"/>
                <a:gd name="connsiteY11" fmla="*/ 0 h 1742558"/>
                <a:gd name="connsiteX12" fmla="*/ 84732 w 323753"/>
                <a:gd name="connsiteY12" fmla="*/ 558934 h 1742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3753" h="1742558">
                  <a:moveTo>
                    <a:pt x="145436" y="968650"/>
                  </a:moveTo>
                  <a:lnTo>
                    <a:pt x="194758" y="1296170"/>
                  </a:lnTo>
                  <a:lnTo>
                    <a:pt x="201081" y="1337900"/>
                  </a:lnTo>
                  <a:lnTo>
                    <a:pt x="201081" y="1337900"/>
                  </a:lnTo>
                  <a:lnTo>
                    <a:pt x="204875" y="1358133"/>
                  </a:lnTo>
                  <a:lnTo>
                    <a:pt x="204875" y="1358133"/>
                  </a:lnTo>
                  <a:lnTo>
                    <a:pt x="204875" y="1358133"/>
                  </a:lnTo>
                  <a:lnTo>
                    <a:pt x="204875" y="1364456"/>
                  </a:lnTo>
                  <a:lnTo>
                    <a:pt x="256726" y="1704621"/>
                  </a:lnTo>
                  <a:lnTo>
                    <a:pt x="323753" y="1742558"/>
                  </a:lnTo>
                  <a:lnTo>
                    <a:pt x="72086" y="32879"/>
                  </a:lnTo>
                  <a:lnTo>
                    <a:pt x="0" y="0"/>
                  </a:lnTo>
                  <a:lnTo>
                    <a:pt x="84732" y="558934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3DCE3913-018F-4295-95A6-9375940EA09F}"/>
                </a:ext>
              </a:extLst>
            </p:cNvPr>
            <p:cNvSpPr/>
            <p:nvPr/>
          </p:nvSpPr>
          <p:spPr>
            <a:xfrm>
              <a:off x="11424705" y="3092623"/>
              <a:ext cx="792943" cy="681595"/>
            </a:xfrm>
            <a:custGeom>
              <a:avLst/>
              <a:gdLst>
                <a:gd name="connsiteX0" fmla="*/ 532423 w 792943"/>
                <a:gd name="connsiteY0" fmla="*/ 230149 h 681595"/>
                <a:gd name="connsiteX1" fmla="*/ 532423 w 792943"/>
                <a:gd name="connsiteY1" fmla="*/ 230149 h 681595"/>
                <a:gd name="connsiteX2" fmla="*/ 532423 w 792943"/>
                <a:gd name="connsiteY2" fmla="*/ 230149 h 681595"/>
                <a:gd name="connsiteX3" fmla="*/ 532423 w 792943"/>
                <a:gd name="connsiteY3" fmla="*/ 231414 h 681595"/>
                <a:gd name="connsiteX4" fmla="*/ 531158 w 792943"/>
                <a:gd name="connsiteY4" fmla="*/ 232678 h 681595"/>
                <a:gd name="connsiteX5" fmla="*/ 531158 w 792943"/>
                <a:gd name="connsiteY5" fmla="*/ 232678 h 681595"/>
                <a:gd name="connsiteX6" fmla="*/ 531158 w 792943"/>
                <a:gd name="connsiteY6" fmla="*/ 232678 h 681595"/>
                <a:gd name="connsiteX7" fmla="*/ 190964 w 792943"/>
                <a:gd name="connsiteY7" fmla="*/ 389483 h 681595"/>
                <a:gd name="connsiteX8" fmla="*/ 0 w 792943"/>
                <a:gd name="connsiteY8" fmla="*/ 478002 h 681595"/>
                <a:gd name="connsiteX9" fmla="*/ 70821 w 792943"/>
                <a:gd name="connsiteY9" fmla="*/ 509616 h 681595"/>
                <a:gd name="connsiteX10" fmla="*/ 230169 w 792943"/>
                <a:gd name="connsiteY10" fmla="*/ 435007 h 681595"/>
                <a:gd name="connsiteX11" fmla="*/ 231433 w 792943"/>
                <a:gd name="connsiteY11" fmla="*/ 435007 h 681595"/>
                <a:gd name="connsiteX12" fmla="*/ 231433 w 792943"/>
                <a:gd name="connsiteY12" fmla="*/ 435007 h 681595"/>
                <a:gd name="connsiteX13" fmla="*/ 233962 w 792943"/>
                <a:gd name="connsiteY13" fmla="*/ 435007 h 681595"/>
                <a:gd name="connsiteX14" fmla="*/ 787884 w 792943"/>
                <a:gd name="connsiteY14" fmla="*/ 681596 h 681595"/>
                <a:gd name="connsiteX15" fmla="*/ 792943 w 792943"/>
                <a:gd name="connsiteY15" fmla="*/ 679066 h 681595"/>
                <a:gd name="connsiteX16" fmla="*/ 792943 w 792943"/>
                <a:gd name="connsiteY16" fmla="*/ 198535 h 681595"/>
                <a:gd name="connsiteX17" fmla="*/ 743621 w 792943"/>
                <a:gd name="connsiteY17" fmla="*/ 178302 h 681595"/>
                <a:gd name="connsiteX18" fmla="*/ 308577 w 792943"/>
                <a:gd name="connsiteY18" fmla="*/ 0 h 681595"/>
                <a:gd name="connsiteX19" fmla="*/ 252932 w 792943"/>
                <a:gd name="connsiteY19" fmla="*/ 25291 h 681595"/>
                <a:gd name="connsiteX20" fmla="*/ 155553 w 792943"/>
                <a:gd name="connsiteY20" fmla="*/ 68286 h 681595"/>
                <a:gd name="connsiteX21" fmla="*/ 531158 w 792943"/>
                <a:gd name="connsiteY21" fmla="*/ 225091 h 681595"/>
                <a:gd name="connsiteX22" fmla="*/ 531158 w 792943"/>
                <a:gd name="connsiteY22" fmla="*/ 225091 h 681595"/>
                <a:gd name="connsiteX23" fmla="*/ 532423 w 792943"/>
                <a:gd name="connsiteY23" fmla="*/ 225091 h 681595"/>
                <a:gd name="connsiteX24" fmla="*/ 532423 w 792943"/>
                <a:gd name="connsiteY24" fmla="*/ 226355 h 681595"/>
                <a:gd name="connsiteX25" fmla="*/ 532423 w 792943"/>
                <a:gd name="connsiteY25" fmla="*/ 226355 h 681595"/>
                <a:gd name="connsiteX26" fmla="*/ 532423 w 792943"/>
                <a:gd name="connsiteY26" fmla="*/ 226355 h 681595"/>
                <a:gd name="connsiteX27" fmla="*/ 532423 w 792943"/>
                <a:gd name="connsiteY27" fmla="*/ 227620 h 681595"/>
                <a:gd name="connsiteX28" fmla="*/ 532423 w 792943"/>
                <a:gd name="connsiteY28" fmla="*/ 227620 h 681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92943" h="681595">
                  <a:moveTo>
                    <a:pt x="532423" y="230149"/>
                  </a:moveTo>
                  <a:lnTo>
                    <a:pt x="532423" y="230149"/>
                  </a:lnTo>
                  <a:lnTo>
                    <a:pt x="532423" y="230149"/>
                  </a:lnTo>
                  <a:cubicBezTo>
                    <a:pt x="532423" y="231414"/>
                    <a:pt x="532423" y="231414"/>
                    <a:pt x="532423" y="231414"/>
                  </a:cubicBezTo>
                  <a:cubicBezTo>
                    <a:pt x="532423" y="231414"/>
                    <a:pt x="532423" y="231414"/>
                    <a:pt x="531158" y="232678"/>
                  </a:cubicBezTo>
                  <a:lnTo>
                    <a:pt x="531158" y="232678"/>
                  </a:lnTo>
                  <a:lnTo>
                    <a:pt x="531158" y="232678"/>
                  </a:lnTo>
                  <a:lnTo>
                    <a:pt x="190964" y="389483"/>
                  </a:lnTo>
                  <a:lnTo>
                    <a:pt x="0" y="478002"/>
                  </a:lnTo>
                  <a:lnTo>
                    <a:pt x="70821" y="509616"/>
                  </a:lnTo>
                  <a:lnTo>
                    <a:pt x="230169" y="435007"/>
                  </a:lnTo>
                  <a:lnTo>
                    <a:pt x="231433" y="435007"/>
                  </a:lnTo>
                  <a:lnTo>
                    <a:pt x="231433" y="435007"/>
                  </a:lnTo>
                  <a:lnTo>
                    <a:pt x="233962" y="435007"/>
                  </a:lnTo>
                  <a:lnTo>
                    <a:pt x="787884" y="681596"/>
                  </a:lnTo>
                  <a:lnTo>
                    <a:pt x="792943" y="679066"/>
                  </a:lnTo>
                  <a:lnTo>
                    <a:pt x="792943" y="198535"/>
                  </a:lnTo>
                  <a:lnTo>
                    <a:pt x="743621" y="178302"/>
                  </a:lnTo>
                  <a:lnTo>
                    <a:pt x="308577" y="0"/>
                  </a:lnTo>
                  <a:lnTo>
                    <a:pt x="252932" y="25291"/>
                  </a:lnTo>
                  <a:lnTo>
                    <a:pt x="155553" y="68286"/>
                  </a:lnTo>
                  <a:lnTo>
                    <a:pt x="531158" y="225091"/>
                  </a:lnTo>
                  <a:lnTo>
                    <a:pt x="531158" y="225091"/>
                  </a:lnTo>
                  <a:lnTo>
                    <a:pt x="532423" y="225091"/>
                  </a:lnTo>
                  <a:lnTo>
                    <a:pt x="532423" y="226355"/>
                  </a:lnTo>
                  <a:lnTo>
                    <a:pt x="532423" y="226355"/>
                  </a:lnTo>
                  <a:lnTo>
                    <a:pt x="532423" y="226355"/>
                  </a:lnTo>
                  <a:cubicBezTo>
                    <a:pt x="532423" y="226355"/>
                    <a:pt x="532423" y="227620"/>
                    <a:pt x="532423" y="227620"/>
                  </a:cubicBezTo>
                  <a:lnTo>
                    <a:pt x="532423" y="227620"/>
                  </a:lnTo>
                </a:path>
              </a:pathLst>
            </a:custGeom>
            <a:solidFill>
              <a:schemeClr val="accent2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72BA7C6C-9DFE-497D-89FA-34ED8B1EC3EE}"/>
                </a:ext>
              </a:extLst>
            </p:cNvPr>
            <p:cNvSpPr/>
            <p:nvPr/>
          </p:nvSpPr>
          <p:spPr>
            <a:xfrm>
              <a:off x="11616934" y="1406970"/>
              <a:ext cx="600714" cy="307287"/>
            </a:xfrm>
            <a:custGeom>
              <a:avLst/>
              <a:gdLst>
                <a:gd name="connsiteX0" fmla="*/ 0 w 600714"/>
                <a:gd name="connsiteY0" fmla="*/ 125191 h 307287"/>
                <a:gd name="connsiteX1" fmla="*/ 600714 w 600714"/>
                <a:gd name="connsiteY1" fmla="*/ 307287 h 307287"/>
                <a:gd name="connsiteX2" fmla="*/ 600714 w 600714"/>
                <a:gd name="connsiteY2" fmla="*/ 75873 h 307287"/>
                <a:gd name="connsiteX3" fmla="*/ 340194 w 600714"/>
                <a:gd name="connsiteY3" fmla="*/ 0 h 307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0714" h="307287">
                  <a:moveTo>
                    <a:pt x="0" y="125191"/>
                  </a:moveTo>
                  <a:lnTo>
                    <a:pt x="600714" y="307287"/>
                  </a:lnTo>
                  <a:lnTo>
                    <a:pt x="600714" y="75873"/>
                  </a:lnTo>
                  <a:lnTo>
                    <a:pt x="340194" y="0"/>
                  </a:lnTo>
                  <a:close/>
                </a:path>
              </a:pathLst>
            </a:custGeom>
            <a:solidFill>
              <a:schemeClr val="accent4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DCC40397-DA9E-4BC1-9002-29D35F66B2C9}"/>
                </a:ext>
              </a:extLst>
            </p:cNvPr>
            <p:cNvSpPr/>
            <p:nvPr/>
          </p:nvSpPr>
          <p:spPr>
            <a:xfrm>
              <a:off x="10615322" y="5878440"/>
              <a:ext cx="1155900" cy="976237"/>
            </a:xfrm>
            <a:custGeom>
              <a:avLst/>
              <a:gdLst>
                <a:gd name="connsiteX0" fmla="*/ 0 w 1155900"/>
                <a:gd name="connsiteY0" fmla="*/ 0 h 976237"/>
                <a:gd name="connsiteX1" fmla="*/ 78409 w 1155900"/>
                <a:gd name="connsiteY1" fmla="*/ 403393 h 976237"/>
                <a:gd name="connsiteX2" fmla="*/ 87262 w 1155900"/>
                <a:gd name="connsiteY2" fmla="*/ 446389 h 976237"/>
                <a:gd name="connsiteX3" fmla="*/ 870087 w 1155900"/>
                <a:gd name="connsiteY3" fmla="*/ 976237 h 976237"/>
                <a:gd name="connsiteX4" fmla="*/ 1155901 w 1155900"/>
                <a:gd name="connsiteY4" fmla="*/ 976237 h 976237"/>
                <a:gd name="connsiteX5" fmla="*/ 1115432 w 1155900"/>
                <a:gd name="connsiteY5" fmla="*/ 723326 h 97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5900" h="976237">
                  <a:moveTo>
                    <a:pt x="0" y="0"/>
                  </a:moveTo>
                  <a:lnTo>
                    <a:pt x="78409" y="403393"/>
                  </a:lnTo>
                  <a:lnTo>
                    <a:pt x="87262" y="446389"/>
                  </a:lnTo>
                  <a:lnTo>
                    <a:pt x="870087" y="976237"/>
                  </a:lnTo>
                  <a:lnTo>
                    <a:pt x="1155901" y="976237"/>
                  </a:lnTo>
                  <a:lnTo>
                    <a:pt x="1115432" y="72332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5759F5B8-DD94-4FF1-AEC4-0E5740519829}"/>
                </a:ext>
              </a:extLst>
            </p:cNvPr>
            <p:cNvSpPr/>
            <p:nvPr/>
          </p:nvSpPr>
          <p:spPr>
            <a:xfrm>
              <a:off x="11740871" y="6308389"/>
              <a:ext cx="476777" cy="546287"/>
            </a:xfrm>
            <a:custGeom>
              <a:avLst/>
              <a:gdLst>
                <a:gd name="connsiteX0" fmla="*/ 39205 w 476777"/>
                <a:gd name="connsiteY0" fmla="*/ 546288 h 546287"/>
                <a:gd name="connsiteX1" fmla="*/ 476778 w 476777"/>
                <a:gd name="connsiteY1" fmla="*/ 546288 h 546287"/>
                <a:gd name="connsiteX2" fmla="*/ 476778 w 476777"/>
                <a:gd name="connsiteY2" fmla="*/ 507087 h 546287"/>
                <a:gd name="connsiteX3" fmla="*/ 476778 w 476777"/>
                <a:gd name="connsiteY3" fmla="*/ 0 h 546287"/>
                <a:gd name="connsiteX4" fmla="*/ 0 w 476777"/>
                <a:gd name="connsiteY4" fmla="*/ 293377 h 54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777" h="546287">
                  <a:moveTo>
                    <a:pt x="39205" y="546288"/>
                  </a:moveTo>
                  <a:lnTo>
                    <a:pt x="476778" y="546288"/>
                  </a:lnTo>
                  <a:lnTo>
                    <a:pt x="476778" y="507087"/>
                  </a:lnTo>
                  <a:lnTo>
                    <a:pt x="476778" y="0"/>
                  </a:lnTo>
                  <a:lnTo>
                    <a:pt x="0" y="293377"/>
                  </a:lnTo>
                  <a:close/>
                </a:path>
              </a:pathLst>
            </a:custGeom>
            <a:solidFill>
              <a:schemeClr val="accent2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535A48E4-FFB3-4E28-A5CB-63EA26A6490A}"/>
                </a:ext>
              </a:extLst>
            </p:cNvPr>
            <p:cNvSpPr/>
            <p:nvPr/>
          </p:nvSpPr>
          <p:spPr>
            <a:xfrm>
              <a:off x="11662462" y="3541540"/>
              <a:ext cx="555186" cy="1876601"/>
            </a:xfrm>
            <a:custGeom>
              <a:avLst/>
              <a:gdLst>
                <a:gd name="connsiteX0" fmla="*/ 0 w 555186"/>
                <a:gd name="connsiteY0" fmla="*/ 0 h 1876601"/>
                <a:gd name="connsiteX1" fmla="*/ 240286 w 555186"/>
                <a:gd name="connsiteY1" fmla="*/ 1703357 h 1876601"/>
                <a:gd name="connsiteX2" fmla="*/ 555187 w 555186"/>
                <a:gd name="connsiteY2" fmla="*/ 1876601 h 1876601"/>
                <a:gd name="connsiteX3" fmla="*/ 555187 w 555186"/>
                <a:gd name="connsiteY3" fmla="*/ 313610 h 1876601"/>
                <a:gd name="connsiteX4" fmla="*/ 546334 w 555186"/>
                <a:gd name="connsiteY4" fmla="*/ 241530 h 1876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186" h="1876601">
                  <a:moveTo>
                    <a:pt x="0" y="0"/>
                  </a:moveTo>
                  <a:lnTo>
                    <a:pt x="240286" y="1703357"/>
                  </a:lnTo>
                  <a:lnTo>
                    <a:pt x="555187" y="1876601"/>
                  </a:lnTo>
                  <a:lnTo>
                    <a:pt x="555187" y="313610"/>
                  </a:lnTo>
                  <a:lnTo>
                    <a:pt x="546334" y="241530"/>
                  </a:lnTo>
                  <a:close/>
                </a:path>
              </a:pathLst>
            </a:custGeom>
            <a:solidFill>
              <a:schemeClr val="accent1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EF644793-61B0-471D-8676-D52B4446A6A8}"/>
                </a:ext>
              </a:extLst>
            </p:cNvPr>
            <p:cNvSpPr/>
            <p:nvPr/>
          </p:nvSpPr>
          <p:spPr>
            <a:xfrm>
              <a:off x="11758576" y="5252485"/>
              <a:ext cx="459072" cy="268086"/>
            </a:xfrm>
            <a:custGeom>
              <a:avLst/>
              <a:gdLst>
                <a:gd name="connsiteX0" fmla="*/ 0 w 459072"/>
                <a:gd name="connsiteY0" fmla="*/ 78403 h 268086"/>
                <a:gd name="connsiteX1" fmla="*/ 337665 w 459072"/>
                <a:gd name="connsiteY1" fmla="*/ 268086 h 268086"/>
                <a:gd name="connsiteX2" fmla="*/ 459072 w 459072"/>
                <a:gd name="connsiteY2" fmla="*/ 198535 h 268086"/>
                <a:gd name="connsiteX3" fmla="*/ 459072 w 459072"/>
                <a:gd name="connsiteY3" fmla="*/ 175773 h 268086"/>
                <a:gd name="connsiteX4" fmla="*/ 140378 w 459072"/>
                <a:gd name="connsiteY4" fmla="*/ 0 h 268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9072" h="268086">
                  <a:moveTo>
                    <a:pt x="0" y="78403"/>
                  </a:moveTo>
                  <a:lnTo>
                    <a:pt x="337665" y="268086"/>
                  </a:lnTo>
                  <a:lnTo>
                    <a:pt x="459072" y="198535"/>
                  </a:lnTo>
                  <a:lnTo>
                    <a:pt x="459072" y="175773"/>
                  </a:lnTo>
                  <a:lnTo>
                    <a:pt x="140378" y="0"/>
                  </a:lnTo>
                  <a:close/>
                </a:path>
              </a:pathLst>
            </a:custGeom>
            <a:solidFill>
              <a:schemeClr val="accent2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3ECC36AA-98AF-4342-9FB2-83273979DA2D}"/>
                </a:ext>
              </a:extLst>
            </p:cNvPr>
            <p:cNvSpPr/>
            <p:nvPr/>
          </p:nvSpPr>
          <p:spPr>
            <a:xfrm>
              <a:off x="11500585" y="3540276"/>
              <a:ext cx="393309" cy="1783024"/>
            </a:xfrm>
            <a:custGeom>
              <a:avLst/>
              <a:gdLst>
                <a:gd name="connsiteX0" fmla="*/ 393310 w 393309"/>
                <a:gd name="connsiteY0" fmla="*/ 1704621 h 1783024"/>
                <a:gd name="connsiteX1" fmla="*/ 151759 w 393309"/>
                <a:gd name="connsiteY1" fmla="*/ 0 h 1783024"/>
                <a:gd name="connsiteX2" fmla="*/ 0 w 393309"/>
                <a:gd name="connsiteY2" fmla="*/ 70815 h 1783024"/>
                <a:gd name="connsiteX3" fmla="*/ 251668 w 393309"/>
                <a:gd name="connsiteY3" fmla="*/ 1783024 h 1783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309" h="1783024">
                  <a:moveTo>
                    <a:pt x="393310" y="1704621"/>
                  </a:moveTo>
                  <a:lnTo>
                    <a:pt x="151759" y="0"/>
                  </a:lnTo>
                  <a:lnTo>
                    <a:pt x="0" y="70815"/>
                  </a:lnTo>
                  <a:lnTo>
                    <a:pt x="251668" y="1783024"/>
                  </a:lnTo>
                  <a:close/>
                </a:path>
              </a:pathLst>
            </a:custGeom>
            <a:solidFill>
              <a:schemeClr val="bg2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4D97E4D7-5A9D-4AC3-A66F-A87C1AAEF8E3}"/>
                </a:ext>
              </a:extLst>
            </p:cNvPr>
            <p:cNvSpPr/>
            <p:nvPr/>
          </p:nvSpPr>
          <p:spPr>
            <a:xfrm>
              <a:off x="11573935" y="3168496"/>
              <a:ext cx="369281" cy="304758"/>
            </a:xfrm>
            <a:custGeom>
              <a:avLst/>
              <a:gdLst>
                <a:gd name="connsiteX0" fmla="*/ 369281 w 369281"/>
                <a:gd name="connsiteY0" fmla="*/ 155540 h 304758"/>
                <a:gd name="connsiteX1" fmla="*/ 0 w 369281"/>
                <a:gd name="connsiteY1" fmla="*/ 0 h 304758"/>
                <a:gd name="connsiteX2" fmla="*/ 42999 w 369281"/>
                <a:gd name="connsiteY2" fmla="*/ 304758 h 304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9281" h="304758">
                  <a:moveTo>
                    <a:pt x="369281" y="155540"/>
                  </a:moveTo>
                  <a:lnTo>
                    <a:pt x="0" y="0"/>
                  </a:lnTo>
                  <a:lnTo>
                    <a:pt x="42999" y="304758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7FD8AE7B-489C-440A-9466-E15143EE28DE}"/>
                </a:ext>
              </a:extLst>
            </p:cNvPr>
            <p:cNvSpPr/>
            <p:nvPr/>
          </p:nvSpPr>
          <p:spPr>
            <a:xfrm>
              <a:off x="11504379" y="4515249"/>
              <a:ext cx="50586" cy="36672"/>
            </a:xfrm>
            <a:custGeom>
              <a:avLst/>
              <a:gdLst>
                <a:gd name="connsiteX0" fmla="*/ 50586 w 50586"/>
                <a:gd name="connsiteY0" fmla="*/ 35407 h 36672"/>
                <a:gd name="connsiteX1" fmla="*/ 49322 w 50586"/>
                <a:gd name="connsiteY1" fmla="*/ 25291 h 36672"/>
                <a:gd name="connsiteX2" fmla="*/ 0 w 50586"/>
                <a:gd name="connsiteY2" fmla="*/ 0 h 36672"/>
                <a:gd name="connsiteX3" fmla="*/ 1265 w 50586"/>
                <a:gd name="connsiteY3" fmla="*/ 2529 h 36672"/>
                <a:gd name="connsiteX4" fmla="*/ 2529 w 50586"/>
                <a:gd name="connsiteY4" fmla="*/ 11381 h 36672"/>
                <a:gd name="connsiteX5" fmla="*/ 50586 w 50586"/>
                <a:gd name="connsiteY5" fmla="*/ 36672 h 3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586" h="36672">
                  <a:moveTo>
                    <a:pt x="50586" y="35407"/>
                  </a:moveTo>
                  <a:lnTo>
                    <a:pt x="49322" y="25291"/>
                  </a:lnTo>
                  <a:lnTo>
                    <a:pt x="0" y="0"/>
                  </a:lnTo>
                  <a:lnTo>
                    <a:pt x="1265" y="2529"/>
                  </a:lnTo>
                  <a:lnTo>
                    <a:pt x="2529" y="11381"/>
                  </a:lnTo>
                  <a:lnTo>
                    <a:pt x="50586" y="36672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BB80640F-CFE5-4481-AA78-BA83BCA42356}"/>
                </a:ext>
              </a:extLst>
            </p:cNvPr>
            <p:cNvSpPr/>
            <p:nvPr/>
          </p:nvSpPr>
          <p:spPr>
            <a:xfrm>
              <a:off x="8485632" y="5551623"/>
              <a:ext cx="12646" cy="562"/>
            </a:xfrm>
            <a:custGeom>
              <a:avLst/>
              <a:gdLst>
                <a:gd name="connsiteX0" fmla="*/ 0 w 12646"/>
                <a:gd name="connsiteY0" fmla="*/ 562 h 562"/>
                <a:gd name="connsiteX1" fmla="*/ 0 w 12646"/>
                <a:gd name="connsiteY1" fmla="*/ 562 h 562"/>
                <a:gd name="connsiteX2" fmla="*/ 0 w 12646"/>
                <a:gd name="connsiteY2" fmla="*/ 562 h 562"/>
                <a:gd name="connsiteX3" fmla="*/ 0 w 12646"/>
                <a:gd name="connsiteY3" fmla="*/ 562 h 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562">
                  <a:moveTo>
                    <a:pt x="0" y="562"/>
                  </a:moveTo>
                  <a:lnTo>
                    <a:pt x="0" y="562"/>
                  </a:lnTo>
                  <a:cubicBezTo>
                    <a:pt x="0" y="562"/>
                    <a:pt x="0" y="562"/>
                    <a:pt x="0" y="562"/>
                  </a:cubicBezTo>
                  <a:cubicBezTo>
                    <a:pt x="0" y="-703"/>
                    <a:pt x="0" y="562"/>
                    <a:pt x="0" y="562"/>
                  </a:cubicBezTo>
                  <a:close/>
                </a:path>
              </a:pathLst>
            </a:custGeom>
            <a:solidFill>
              <a:srgbClr val="FFFFFF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3819C4AD-13B4-4003-B6A7-09B15CF5371E}"/>
                </a:ext>
              </a:extLst>
            </p:cNvPr>
            <p:cNvSpPr/>
            <p:nvPr/>
          </p:nvSpPr>
          <p:spPr>
            <a:xfrm>
              <a:off x="8488161" y="4926229"/>
              <a:ext cx="1276043" cy="624690"/>
            </a:xfrm>
            <a:custGeom>
              <a:avLst/>
              <a:gdLst>
                <a:gd name="connsiteX0" fmla="*/ 1272250 w 1276043"/>
                <a:gd name="connsiteY0" fmla="*/ 0 h 624690"/>
                <a:gd name="connsiteX1" fmla="*/ 0 w 1276043"/>
                <a:gd name="connsiteY1" fmla="*/ 619632 h 624690"/>
                <a:gd name="connsiteX2" fmla="*/ 0 w 1276043"/>
                <a:gd name="connsiteY2" fmla="*/ 619632 h 624690"/>
                <a:gd name="connsiteX3" fmla="*/ 5059 w 1276043"/>
                <a:gd name="connsiteY3" fmla="*/ 619632 h 624690"/>
                <a:gd name="connsiteX4" fmla="*/ 11382 w 1276043"/>
                <a:gd name="connsiteY4" fmla="*/ 624691 h 624690"/>
                <a:gd name="connsiteX5" fmla="*/ 1276044 w 1276043"/>
                <a:gd name="connsiteY5" fmla="*/ 10116 h 624690"/>
                <a:gd name="connsiteX6" fmla="*/ 1274779 w 1276043"/>
                <a:gd name="connsiteY6" fmla="*/ 3794 h 624690"/>
                <a:gd name="connsiteX7" fmla="*/ 1272250 w 1276043"/>
                <a:gd name="connsiteY7" fmla="*/ 0 h 62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76043" h="624690">
                  <a:moveTo>
                    <a:pt x="1272250" y="0"/>
                  </a:moveTo>
                  <a:lnTo>
                    <a:pt x="0" y="619632"/>
                  </a:lnTo>
                  <a:lnTo>
                    <a:pt x="0" y="619632"/>
                  </a:lnTo>
                  <a:cubicBezTo>
                    <a:pt x="1265" y="618368"/>
                    <a:pt x="3794" y="618368"/>
                    <a:pt x="5059" y="619632"/>
                  </a:cubicBezTo>
                  <a:lnTo>
                    <a:pt x="11382" y="624691"/>
                  </a:lnTo>
                  <a:lnTo>
                    <a:pt x="1276044" y="10116"/>
                  </a:lnTo>
                  <a:lnTo>
                    <a:pt x="1274779" y="3794"/>
                  </a:lnTo>
                  <a:lnTo>
                    <a:pt x="1272250" y="0"/>
                  </a:lnTo>
                  <a:close/>
                </a:path>
              </a:pathLst>
            </a:custGeom>
            <a:solidFill>
              <a:srgbClr val="FFFFFF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CB7DB351-770D-4969-B22A-929ED38BE853}"/>
                </a:ext>
              </a:extLst>
            </p:cNvPr>
            <p:cNvSpPr/>
            <p:nvPr/>
          </p:nvSpPr>
          <p:spPr>
            <a:xfrm>
              <a:off x="8486896" y="5544913"/>
              <a:ext cx="1773055" cy="1309763"/>
            </a:xfrm>
            <a:custGeom>
              <a:avLst/>
              <a:gdLst>
                <a:gd name="connsiteX0" fmla="*/ 1265 w 1773055"/>
                <a:gd name="connsiteY0" fmla="*/ 948 h 1309763"/>
                <a:gd name="connsiteX1" fmla="*/ 1265 w 1773055"/>
                <a:gd name="connsiteY1" fmla="*/ 948 h 1309763"/>
                <a:gd name="connsiteX2" fmla="*/ 1265 w 1773055"/>
                <a:gd name="connsiteY2" fmla="*/ 948 h 1309763"/>
                <a:gd name="connsiteX3" fmla="*/ 1265 w 1773055"/>
                <a:gd name="connsiteY3" fmla="*/ 948 h 1309763"/>
                <a:gd name="connsiteX4" fmla="*/ 1265 w 1773055"/>
                <a:gd name="connsiteY4" fmla="*/ 948 h 1309763"/>
                <a:gd name="connsiteX5" fmla="*/ 0 w 1773055"/>
                <a:gd name="connsiteY5" fmla="*/ 3477 h 1309763"/>
                <a:gd name="connsiteX6" fmla="*/ 0 w 1773055"/>
                <a:gd name="connsiteY6" fmla="*/ 4742 h 1309763"/>
                <a:gd name="connsiteX7" fmla="*/ 0 w 1773055"/>
                <a:gd name="connsiteY7" fmla="*/ 6007 h 1309763"/>
                <a:gd name="connsiteX8" fmla="*/ 0 w 1773055"/>
                <a:gd name="connsiteY8" fmla="*/ 7271 h 1309763"/>
                <a:gd name="connsiteX9" fmla="*/ 0 w 1773055"/>
                <a:gd name="connsiteY9" fmla="*/ 7271 h 1309763"/>
                <a:gd name="connsiteX10" fmla="*/ 0 w 1773055"/>
                <a:gd name="connsiteY10" fmla="*/ 8536 h 1309763"/>
                <a:gd name="connsiteX11" fmla="*/ 0 w 1773055"/>
                <a:gd name="connsiteY11" fmla="*/ 8536 h 1309763"/>
                <a:gd name="connsiteX12" fmla="*/ 0 w 1773055"/>
                <a:gd name="connsiteY12" fmla="*/ 8536 h 1309763"/>
                <a:gd name="connsiteX13" fmla="*/ 1757880 w 1773055"/>
                <a:gd name="connsiteY13" fmla="*/ 1309764 h 1309763"/>
                <a:gd name="connsiteX14" fmla="*/ 1773056 w 1773055"/>
                <a:gd name="connsiteY14" fmla="*/ 1309764 h 1309763"/>
                <a:gd name="connsiteX15" fmla="*/ 12647 w 1773055"/>
                <a:gd name="connsiteY15" fmla="*/ 6007 h 1309763"/>
                <a:gd name="connsiteX16" fmla="*/ 6323 w 1773055"/>
                <a:gd name="connsiteY16" fmla="*/ 948 h 1309763"/>
                <a:gd name="connsiteX17" fmla="*/ 1265 w 1773055"/>
                <a:gd name="connsiteY17" fmla="*/ 948 h 1309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773055" h="1309763">
                  <a:moveTo>
                    <a:pt x="1265" y="948"/>
                  </a:moveTo>
                  <a:lnTo>
                    <a:pt x="1265" y="948"/>
                  </a:lnTo>
                  <a:lnTo>
                    <a:pt x="1265" y="948"/>
                  </a:lnTo>
                  <a:lnTo>
                    <a:pt x="1265" y="948"/>
                  </a:lnTo>
                  <a:cubicBezTo>
                    <a:pt x="0" y="948"/>
                    <a:pt x="0" y="948"/>
                    <a:pt x="1265" y="948"/>
                  </a:cubicBezTo>
                  <a:cubicBezTo>
                    <a:pt x="0" y="2213"/>
                    <a:pt x="0" y="2213"/>
                    <a:pt x="0" y="3477"/>
                  </a:cubicBezTo>
                  <a:cubicBezTo>
                    <a:pt x="0" y="3477"/>
                    <a:pt x="0" y="3477"/>
                    <a:pt x="0" y="4742"/>
                  </a:cubicBezTo>
                  <a:lnTo>
                    <a:pt x="0" y="6007"/>
                  </a:lnTo>
                  <a:cubicBezTo>
                    <a:pt x="0" y="6007"/>
                    <a:pt x="0" y="7271"/>
                    <a:pt x="0" y="7271"/>
                  </a:cubicBezTo>
                  <a:cubicBezTo>
                    <a:pt x="0" y="7271"/>
                    <a:pt x="0" y="7271"/>
                    <a:pt x="0" y="7271"/>
                  </a:cubicBezTo>
                  <a:lnTo>
                    <a:pt x="0" y="8536"/>
                  </a:lnTo>
                  <a:lnTo>
                    <a:pt x="0" y="8536"/>
                  </a:lnTo>
                  <a:lnTo>
                    <a:pt x="0" y="8536"/>
                  </a:lnTo>
                  <a:lnTo>
                    <a:pt x="1757880" y="1309764"/>
                  </a:lnTo>
                  <a:lnTo>
                    <a:pt x="1773056" y="1309764"/>
                  </a:lnTo>
                  <a:lnTo>
                    <a:pt x="12647" y="6007"/>
                  </a:lnTo>
                  <a:lnTo>
                    <a:pt x="6323" y="948"/>
                  </a:lnTo>
                  <a:cubicBezTo>
                    <a:pt x="5059" y="-316"/>
                    <a:pt x="2529" y="-316"/>
                    <a:pt x="1265" y="948"/>
                  </a:cubicBezTo>
                  <a:close/>
                </a:path>
              </a:pathLst>
            </a:custGeom>
            <a:solidFill>
              <a:srgbClr val="FFFFFF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6F41C205-D48D-4550-A6F3-0E61FC671EB6}"/>
                </a:ext>
              </a:extLst>
            </p:cNvPr>
            <p:cNvSpPr/>
            <p:nvPr/>
          </p:nvSpPr>
          <p:spPr>
            <a:xfrm>
              <a:off x="10170161" y="4921171"/>
              <a:ext cx="45527" cy="182095"/>
            </a:xfrm>
            <a:custGeom>
              <a:avLst/>
              <a:gdLst>
                <a:gd name="connsiteX0" fmla="*/ 45528 w 45527"/>
                <a:gd name="connsiteY0" fmla="*/ 178302 h 182095"/>
                <a:gd name="connsiteX1" fmla="*/ 8853 w 45527"/>
                <a:gd name="connsiteY1" fmla="*/ 0 h 182095"/>
                <a:gd name="connsiteX2" fmla="*/ 5059 w 45527"/>
                <a:gd name="connsiteY2" fmla="*/ 1264 h 182095"/>
                <a:gd name="connsiteX3" fmla="*/ 5059 w 45527"/>
                <a:gd name="connsiteY3" fmla="*/ 1264 h 182095"/>
                <a:gd name="connsiteX4" fmla="*/ 3794 w 45527"/>
                <a:gd name="connsiteY4" fmla="*/ 1264 h 182095"/>
                <a:gd name="connsiteX5" fmla="*/ 2529 w 45527"/>
                <a:gd name="connsiteY5" fmla="*/ 1264 h 182095"/>
                <a:gd name="connsiteX6" fmla="*/ 1265 w 45527"/>
                <a:gd name="connsiteY6" fmla="*/ 1264 h 182095"/>
                <a:gd name="connsiteX7" fmla="*/ 1265 w 45527"/>
                <a:gd name="connsiteY7" fmla="*/ 1264 h 182095"/>
                <a:gd name="connsiteX8" fmla="*/ 0 w 45527"/>
                <a:gd name="connsiteY8" fmla="*/ 0 h 182095"/>
                <a:gd name="connsiteX9" fmla="*/ 36675 w 45527"/>
                <a:gd name="connsiteY9" fmla="*/ 182096 h 182095"/>
                <a:gd name="connsiteX10" fmla="*/ 40469 w 45527"/>
                <a:gd name="connsiteY10" fmla="*/ 180831 h 182095"/>
                <a:gd name="connsiteX11" fmla="*/ 45528 w 45527"/>
                <a:gd name="connsiteY11" fmla="*/ 178302 h 182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5527" h="182095">
                  <a:moveTo>
                    <a:pt x="45528" y="178302"/>
                  </a:moveTo>
                  <a:lnTo>
                    <a:pt x="8853" y="0"/>
                  </a:lnTo>
                  <a:lnTo>
                    <a:pt x="5059" y="1264"/>
                  </a:lnTo>
                  <a:lnTo>
                    <a:pt x="5059" y="1264"/>
                  </a:lnTo>
                  <a:lnTo>
                    <a:pt x="3794" y="1264"/>
                  </a:lnTo>
                  <a:lnTo>
                    <a:pt x="2529" y="1264"/>
                  </a:lnTo>
                  <a:lnTo>
                    <a:pt x="1265" y="1264"/>
                  </a:lnTo>
                  <a:lnTo>
                    <a:pt x="1265" y="1264"/>
                  </a:lnTo>
                  <a:lnTo>
                    <a:pt x="0" y="0"/>
                  </a:lnTo>
                  <a:lnTo>
                    <a:pt x="36675" y="182096"/>
                  </a:lnTo>
                  <a:lnTo>
                    <a:pt x="40469" y="180831"/>
                  </a:lnTo>
                  <a:lnTo>
                    <a:pt x="45528" y="178302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E9004E5B-F4FF-4C3F-8FED-BE22325414AF}"/>
                </a:ext>
              </a:extLst>
            </p:cNvPr>
            <p:cNvSpPr/>
            <p:nvPr/>
          </p:nvSpPr>
          <p:spPr>
            <a:xfrm>
              <a:off x="9826173" y="5180405"/>
              <a:ext cx="101172" cy="68285"/>
            </a:xfrm>
            <a:custGeom>
              <a:avLst/>
              <a:gdLst>
                <a:gd name="connsiteX0" fmla="*/ 98644 w 101172"/>
                <a:gd name="connsiteY0" fmla="*/ 65757 h 68285"/>
                <a:gd name="connsiteX1" fmla="*/ 101173 w 101172"/>
                <a:gd name="connsiteY1" fmla="*/ 64492 h 68285"/>
                <a:gd name="connsiteX2" fmla="*/ 0 w 101172"/>
                <a:gd name="connsiteY2" fmla="*/ 0 h 68285"/>
                <a:gd name="connsiteX3" fmla="*/ 1265 w 101172"/>
                <a:gd name="connsiteY3" fmla="*/ 2529 h 68285"/>
                <a:gd name="connsiteX4" fmla="*/ 3794 w 101172"/>
                <a:gd name="connsiteY4" fmla="*/ 12646 h 68285"/>
                <a:gd name="connsiteX5" fmla="*/ 91056 w 101172"/>
                <a:gd name="connsiteY5" fmla="*/ 68286 h 6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172" h="68285">
                  <a:moveTo>
                    <a:pt x="98644" y="65757"/>
                  </a:moveTo>
                  <a:lnTo>
                    <a:pt x="101173" y="64492"/>
                  </a:lnTo>
                  <a:lnTo>
                    <a:pt x="0" y="0"/>
                  </a:lnTo>
                  <a:lnTo>
                    <a:pt x="1265" y="2529"/>
                  </a:lnTo>
                  <a:lnTo>
                    <a:pt x="3794" y="12646"/>
                  </a:lnTo>
                  <a:lnTo>
                    <a:pt x="91056" y="68286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E1D9EFE7-1282-450F-AA1E-403406294146}"/>
                </a:ext>
              </a:extLst>
            </p:cNvPr>
            <p:cNvSpPr/>
            <p:nvPr/>
          </p:nvSpPr>
          <p:spPr>
            <a:xfrm>
              <a:off x="9928610" y="4777012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D13C893A-6005-408B-B0EE-AD85A35C6110}"/>
                </a:ext>
              </a:extLst>
            </p:cNvPr>
            <p:cNvSpPr/>
            <p:nvPr/>
          </p:nvSpPr>
          <p:spPr>
            <a:xfrm>
              <a:off x="9929875" y="4778276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B080AF4-2481-4CC9-B79D-B3B542693FD6}"/>
                </a:ext>
              </a:extLst>
            </p:cNvPr>
            <p:cNvSpPr/>
            <p:nvPr/>
          </p:nvSpPr>
          <p:spPr>
            <a:xfrm>
              <a:off x="9932404" y="4774483"/>
              <a:ext cx="241550" cy="147952"/>
            </a:xfrm>
            <a:custGeom>
              <a:avLst/>
              <a:gdLst>
                <a:gd name="connsiteX0" fmla="*/ 239021 w 241550"/>
                <a:gd name="connsiteY0" fmla="*/ 147953 h 147952"/>
                <a:gd name="connsiteX1" fmla="*/ 236492 w 241550"/>
                <a:gd name="connsiteY1" fmla="*/ 145424 h 147952"/>
                <a:gd name="connsiteX2" fmla="*/ 239021 w 241550"/>
                <a:gd name="connsiteY2" fmla="*/ 139101 h 147952"/>
                <a:gd name="connsiteX3" fmla="*/ 239021 w 241550"/>
                <a:gd name="connsiteY3" fmla="*/ 139101 h 147952"/>
                <a:gd name="connsiteX4" fmla="*/ 241550 w 241550"/>
                <a:gd name="connsiteY4" fmla="*/ 137837 h 147952"/>
                <a:gd name="connsiteX5" fmla="*/ 11382 w 241550"/>
                <a:gd name="connsiteY5" fmla="*/ 0 h 147952"/>
                <a:gd name="connsiteX6" fmla="*/ 3794 w 241550"/>
                <a:gd name="connsiteY6" fmla="*/ 3794 h 147952"/>
                <a:gd name="connsiteX7" fmla="*/ 3794 w 241550"/>
                <a:gd name="connsiteY7" fmla="*/ 3794 h 147952"/>
                <a:gd name="connsiteX8" fmla="*/ 3794 w 241550"/>
                <a:gd name="connsiteY8" fmla="*/ 3794 h 147952"/>
                <a:gd name="connsiteX9" fmla="*/ 1265 w 241550"/>
                <a:gd name="connsiteY9" fmla="*/ 3794 h 147952"/>
                <a:gd name="connsiteX10" fmla="*/ 0 w 241550"/>
                <a:gd name="connsiteY10" fmla="*/ 3794 h 147952"/>
                <a:gd name="connsiteX11" fmla="*/ 0 w 241550"/>
                <a:gd name="connsiteY11" fmla="*/ 3794 h 147952"/>
                <a:gd name="connsiteX12" fmla="*/ 0 w 241550"/>
                <a:gd name="connsiteY12" fmla="*/ 3794 h 147952"/>
                <a:gd name="connsiteX13" fmla="*/ 239021 w 241550"/>
                <a:gd name="connsiteY13" fmla="*/ 147953 h 147952"/>
                <a:gd name="connsiteX14" fmla="*/ 239021 w 241550"/>
                <a:gd name="connsiteY14" fmla="*/ 147953 h 147952"/>
                <a:gd name="connsiteX15" fmla="*/ 239021 w 241550"/>
                <a:gd name="connsiteY15" fmla="*/ 147953 h 147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1550" h="147952">
                  <a:moveTo>
                    <a:pt x="239021" y="147953"/>
                  </a:moveTo>
                  <a:cubicBezTo>
                    <a:pt x="237756" y="147953"/>
                    <a:pt x="237756" y="146689"/>
                    <a:pt x="236492" y="145424"/>
                  </a:cubicBezTo>
                  <a:cubicBezTo>
                    <a:pt x="235227" y="142895"/>
                    <a:pt x="236492" y="140366"/>
                    <a:pt x="239021" y="139101"/>
                  </a:cubicBezTo>
                  <a:cubicBezTo>
                    <a:pt x="239021" y="139101"/>
                    <a:pt x="239021" y="139101"/>
                    <a:pt x="239021" y="139101"/>
                  </a:cubicBezTo>
                  <a:lnTo>
                    <a:pt x="241550" y="137837"/>
                  </a:lnTo>
                  <a:lnTo>
                    <a:pt x="11382" y="0"/>
                  </a:lnTo>
                  <a:lnTo>
                    <a:pt x="3794" y="3794"/>
                  </a:lnTo>
                  <a:lnTo>
                    <a:pt x="3794" y="3794"/>
                  </a:lnTo>
                  <a:lnTo>
                    <a:pt x="3794" y="3794"/>
                  </a:lnTo>
                  <a:lnTo>
                    <a:pt x="1265" y="3794"/>
                  </a:lnTo>
                  <a:lnTo>
                    <a:pt x="0" y="3794"/>
                  </a:lnTo>
                  <a:lnTo>
                    <a:pt x="0" y="3794"/>
                  </a:lnTo>
                  <a:lnTo>
                    <a:pt x="0" y="3794"/>
                  </a:lnTo>
                  <a:lnTo>
                    <a:pt x="239021" y="147953"/>
                  </a:lnTo>
                  <a:lnTo>
                    <a:pt x="239021" y="147953"/>
                  </a:lnTo>
                  <a:lnTo>
                    <a:pt x="239021" y="147953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231D7954-29FC-41B7-A500-C5CD4DAB0FF6}"/>
                </a:ext>
              </a:extLst>
            </p:cNvPr>
            <p:cNvSpPr/>
            <p:nvPr/>
          </p:nvSpPr>
          <p:spPr>
            <a:xfrm>
              <a:off x="10167135" y="4846562"/>
              <a:ext cx="143402" cy="78402"/>
            </a:xfrm>
            <a:custGeom>
              <a:avLst/>
              <a:gdLst>
                <a:gd name="connsiteX0" fmla="*/ 140874 w 143402"/>
                <a:gd name="connsiteY0" fmla="*/ 3794 h 78402"/>
                <a:gd name="connsiteX1" fmla="*/ 140874 w 143402"/>
                <a:gd name="connsiteY1" fmla="*/ 3794 h 78402"/>
                <a:gd name="connsiteX2" fmla="*/ 140874 w 143402"/>
                <a:gd name="connsiteY2" fmla="*/ 2529 h 78402"/>
                <a:gd name="connsiteX3" fmla="*/ 140874 w 143402"/>
                <a:gd name="connsiteY3" fmla="*/ 1265 h 78402"/>
                <a:gd name="connsiteX4" fmla="*/ 140874 w 143402"/>
                <a:gd name="connsiteY4" fmla="*/ 1265 h 78402"/>
                <a:gd name="connsiteX5" fmla="*/ 140874 w 143402"/>
                <a:gd name="connsiteY5" fmla="*/ 1265 h 78402"/>
                <a:gd name="connsiteX6" fmla="*/ 140874 w 143402"/>
                <a:gd name="connsiteY6" fmla="*/ 0 h 78402"/>
                <a:gd name="connsiteX7" fmla="*/ 142138 w 143402"/>
                <a:gd name="connsiteY7" fmla="*/ 0 h 78402"/>
                <a:gd name="connsiteX8" fmla="*/ 143403 w 143402"/>
                <a:gd name="connsiteY8" fmla="*/ 0 h 78402"/>
                <a:gd name="connsiteX9" fmla="*/ 143403 w 143402"/>
                <a:gd name="connsiteY9" fmla="*/ 0 h 78402"/>
                <a:gd name="connsiteX10" fmla="*/ 143403 w 143402"/>
                <a:gd name="connsiteY10" fmla="*/ 0 h 78402"/>
                <a:gd name="connsiteX11" fmla="*/ 5555 w 143402"/>
                <a:gd name="connsiteY11" fmla="*/ 68286 h 78402"/>
                <a:gd name="connsiteX12" fmla="*/ 3025 w 143402"/>
                <a:gd name="connsiteY12" fmla="*/ 69551 h 78402"/>
                <a:gd name="connsiteX13" fmla="*/ 496 w 143402"/>
                <a:gd name="connsiteY13" fmla="*/ 75873 h 78402"/>
                <a:gd name="connsiteX14" fmla="*/ 496 w 143402"/>
                <a:gd name="connsiteY14" fmla="*/ 75873 h 78402"/>
                <a:gd name="connsiteX15" fmla="*/ 3025 w 143402"/>
                <a:gd name="connsiteY15" fmla="*/ 78403 h 78402"/>
                <a:gd name="connsiteX16" fmla="*/ 4290 w 143402"/>
                <a:gd name="connsiteY16" fmla="*/ 78403 h 78402"/>
                <a:gd name="connsiteX17" fmla="*/ 5555 w 143402"/>
                <a:gd name="connsiteY17" fmla="*/ 78403 h 78402"/>
                <a:gd name="connsiteX18" fmla="*/ 6819 w 143402"/>
                <a:gd name="connsiteY18" fmla="*/ 78403 h 78402"/>
                <a:gd name="connsiteX19" fmla="*/ 6819 w 143402"/>
                <a:gd name="connsiteY19" fmla="*/ 78403 h 78402"/>
                <a:gd name="connsiteX20" fmla="*/ 10613 w 143402"/>
                <a:gd name="connsiteY20" fmla="*/ 77138 h 78402"/>
                <a:gd name="connsiteX21" fmla="*/ 142138 w 143402"/>
                <a:gd name="connsiteY21" fmla="*/ 12646 h 78402"/>
                <a:gd name="connsiteX22" fmla="*/ 140874 w 143402"/>
                <a:gd name="connsiteY22" fmla="*/ 3794 h 78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3402" h="78402">
                  <a:moveTo>
                    <a:pt x="140874" y="3794"/>
                  </a:moveTo>
                  <a:lnTo>
                    <a:pt x="140874" y="3794"/>
                  </a:lnTo>
                  <a:cubicBezTo>
                    <a:pt x="140874" y="2529"/>
                    <a:pt x="140874" y="2529"/>
                    <a:pt x="140874" y="2529"/>
                  </a:cubicBezTo>
                  <a:cubicBezTo>
                    <a:pt x="140874" y="2529"/>
                    <a:pt x="140874" y="2529"/>
                    <a:pt x="140874" y="1265"/>
                  </a:cubicBezTo>
                  <a:lnTo>
                    <a:pt x="140874" y="1265"/>
                  </a:lnTo>
                  <a:lnTo>
                    <a:pt x="140874" y="1265"/>
                  </a:lnTo>
                  <a:lnTo>
                    <a:pt x="140874" y="0"/>
                  </a:lnTo>
                  <a:lnTo>
                    <a:pt x="142138" y="0"/>
                  </a:lnTo>
                  <a:lnTo>
                    <a:pt x="143403" y="0"/>
                  </a:lnTo>
                  <a:lnTo>
                    <a:pt x="143403" y="0"/>
                  </a:lnTo>
                  <a:lnTo>
                    <a:pt x="143403" y="0"/>
                  </a:lnTo>
                  <a:lnTo>
                    <a:pt x="5555" y="68286"/>
                  </a:lnTo>
                  <a:lnTo>
                    <a:pt x="3025" y="69551"/>
                  </a:lnTo>
                  <a:cubicBezTo>
                    <a:pt x="496" y="70815"/>
                    <a:pt x="-769" y="73344"/>
                    <a:pt x="496" y="75873"/>
                  </a:cubicBezTo>
                  <a:cubicBezTo>
                    <a:pt x="496" y="75873"/>
                    <a:pt x="496" y="75873"/>
                    <a:pt x="496" y="75873"/>
                  </a:cubicBezTo>
                  <a:cubicBezTo>
                    <a:pt x="496" y="77138"/>
                    <a:pt x="1761" y="77138"/>
                    <a:pt x="3025" y="78403"/>
                  </a:cubicBezTo>
                  <a:lnTo>
                    <a:pt x="4290" y="78403"/>
                  </a:lnTo>
                  <a:lnTo>
                    <a:pt x="5555" y="78403"/>
                  </a:lnTo>
                  <a:lnTo>
                    <a:pt x="6819" y="78403"/>
                  </a:lnTo>
                  <a:lnTo>
                    <a:pt x="6819" y="78403"/>
                  </a:lnTo>
                  <a:lnTo>
                    <a:pt x="10613" y="77138"/>
                  </a:lnTo>
                  <a:lnTo>
                    <a:pt x="142138" y="12646"/>
                  </a:lnTo>
                  <a:lnTo>
                    <a:pt x="140874" y="3794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377C8B33-B6C0-4081-BC43-8BE7D518D92D}"/>
                </a:ext>
              </a:extLst>
            </p:cNvPr>
            <p:cNvSpPr/>
            <p:nvPr/>
          </p:nvSpPr>
          <p:spPr>
            <a:xfrm>
              <a:off x="10313068" y="4845298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F4EFD38A-956A-4459-9C14-B0925E7F2420}"/>
                </a:ext>
              </a:extLst>
            </p:cNvPr>
            <p:cNvSpPr/>
            <p:nvPr/>
          </p:nvSpPr>
          <p:spPr>
            <a:xfrm>
              <a:off x="10314332" y="4845298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FFAC83FA-5655-48B6-8B05-E85B94347F92}"/>
                </a:ext>
              </a:extLst>
            </p:cNvPr>
            <p:cNvSpPr/>
            <p:nvPr/>
          </p:nvSpPr>
          <p:spPr>
            <a:xfrm>
              <a:off x="10600146" y="4115649"/>
              <a:ext cx="140377" cy="723326"/>
            </a:xfrm>
            <a:custGeom>
              <a:avLst/>
              <a:gdLst>
                <a:gd name="connsiteX0" fmla="*/ 134054 w 140377"/>
                <a:gd name="connsiteY0" fmla="*/ 722062 h 723326"/>
                <a:gd name="connsiteX1" fmla="*/ 140378 w 140377"/>
                <a:gd name="connsiteY1" fmla="*/ 719532 h 723326"/>
                <a:gd name="connsiteX2" fmla="*/ 8853 w 140377"/>
                <a:gd name="connsiteY2" fmla="*/ 0 h 723326"/>
                <a:gd name="connsiteX3" fmla="*/ 5059 w 140377"/>
                <a:gd name="connsiteY3" fmla="*/ 2529 h 723326"/>
                <a:gd name="connsiteX4" fmla="*/ 0 w 140377"/>
                <a:gd name="connsiteY4" fmla="*/ 5058 h 723326"/>
                <a:gd name="connsiteX5" fmla="*/ 131525 w 140377"/>
                <a:gd name="connsiteY5" fmla="*/ 723326 h 723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0377" h="723326">
                  <a:moveTo>
                    <a:pt x="134054" y="722062"/>
                  </a:moveTo>
                  <a:lnTo>
                    <a:pt x="140378" y="719532"/>
                  </a:lnTo>
                  <a:lnTo>
                    <a:pt x="8853" y="0"/>
                  </a:lnTo>
                  <a:lnTo>
                    <a:pt x="5059" y="2529"/>
                  </a:lnTo>
                  <a:lnTo>
                    <a:pt x="0" y="5058"/>
                  </a:lnTo>
                  <a:lnTo>
                    <a:pt x="131525" y="723326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09A7D6A3-BD12-4BF8-ACCF-9C9CDC13FA66}"/>
                </a:ext>
              </a:extLst>
            </p:cNvPr>
            <p:cNvSpPr/>
            <p:nvPr/>
          </p:nvSpPr>
          <p:spPr>
            <a:xfrm>
              <a:off x="11194537" y="5103267"/>
              <a:ext cx="35410" cy="22761"/>
            </a:xfrm>
            <a:custGeom>
              <a:avLst/>
              <a:gdLst>
                <a:gd name="connsiteX0" fmla="*/ 0 w 35410"/>
                <a:gd name="connsiteY0" fmla="*/ 1265 h 22761"/>
                <a:gd name="connsiteX1" fmla="*/ 1265 w 35410"/>
                <a:gd name="connsiteY1" fmla="*/ 7587 h 22761"/>
                <a:gd name="connsiteX2" fmla="*/ 29087 w 35410"/>
                <a:gd name="connsiteY2" fmla="*/ 22762 h 22761"/>
                <a:gd name="connsiteX3" fmla="*/ 29087 w 35410"/>
                <a:gd name="connsiteY3" fmla="*/ 20233 h 22761"/>
                <a:gd name="connsiteX4" fmla="*/ 29087 w 35410"/>
                <a:gd name="connsiteY4" fmla="*/ 20233 h 22761"/>
                <a:gd name="connsiteX5" fmla="*/ 29087 w 35410"/>
                <a:gd name="connsiteY5" fmla="*/ 18968 h 22761"/>
                <a:gd name="connsiteX6" fmla="*/ 29087 w 35410"/>
                <a:gd name="connsiteY6" fmla="*/ 17704 h 22761"/>
                <a:gd name="connsiteX7" fmla="*/ 29087 w 35410"/>
                <a:gd name="connsiteY7" fmla="*/ 17704 h 22761"/>
                <a:gd name="connsiteX8" fmla="*/ 29087 w 35410"/>
                <a:gd name="connsiteY8" fmla="*/ 17704 h 22761"/>
                <a:gd name="connsiteX9" fmla="*/ 29087 w 35410"/>
                <a:gd name="connsiteY9" fmla="*/ 17704 h 22761"/>
                <a:gd name="connsiteX10" fmla="*/ 30352 w 35410"/>
                <a:gd name="connsiteY10" fmla="*/ 17704 h 22761"/>
                <a:gd name="connsiteX11" fmla="*/ 30352 w 35410"/>
                <a:gd name="connsiteY11" fmla="*/ 17704 h 22761"/>
                <a:gd name="connsiteX12" fmla="*/ 31617 w 35410"/>
                <a:gd name="connsiteY12" fmla="*/ 17704 h 22761"/>
                <a:gd name="connsiteX13" fmla="*/ 32881 w 35410"/>
                <a:gd name="connsiteY13" fmla="*/ 17704 h 22761"/>
                <a:gd name="connsiteX14" fmla="*/ 34146 w 35410"/>
                <a:gd name="connsiteY14" fmla="*/ 17704 h 22761"/>
                <a:gd name="connsiteX15" fmla="*/ 35411 w 35410"/>
                <a:gd name="connsiteY15" fmla="*/ 17704 h 22761"/>
                <a:gd name="connsiteX16" fmla="*/ 6323 w 35410"/>
                <a:gd name="connsiteY16" fmla="*/ 0 h 22761"/>
                <a:gd name="connsiteX17" fmla="*/ 0 w 35410"/>
                <a:gd name="connsiteY17" fmla="*/ 1265 h 22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5410" h="22761">
                  <a:moveTo>
                    <a:pt x="0" y="1265"/>
                  </a:moveTo>
                  <a:lnTo>
                    <a:pt x="1265" y="7587"/>
                  </a:lnTo>
                  <a:lnTo>
                    <a:pt x="29087" y="22762"/>
                  </a:lnTo>
                  <a:lnTo>
                    <a:pt x="29087" y="20233"/>
                  </a:lnTo>
                  <a:lnTo>
                    <a:pt x="29087" y="20233"/>
                  </a:lnTo>
                  <a:cubicBezTo>
                    <a:pt x="29087" y="20233"/>
                    <a:pt x="29087" y="20233"/>
                    <a:pt x="29087" y="18968"/>
                  </a:cubicBezTo>
                  <a:cubicBezTo>
                    <a:pt x="29087" y="18968"/>
                    <a:pt x="29087" y="17704"/>
                    <a:pt x="29087" y="17704"/>
                  </a:cubicBezTo>
                  <a:lnTo>
                    <a:pt x="29087" y="17704"/>
                  </a:lnTo>
                  <a:lnTo>
                    <a:pt x="29087" y="17704"/>
                  </a:lnTo>
                  <a:lnTo>
                    <a:pt x="29087" y="17704"/>
                  </a:lnTo>
                  <a:lnTo>
                    <a:pt x="30352" y="17704"/>
                  </a:lnTo>
                  <a:lnTo>
                    <a:pt x="30352" y="17704"/>
                  </a:lnTo>
                  <a:lnTo>
                    <a:pt x="31617" y="17704"/>
                  </a:lnTo>
                  <a:lnTo>
                    <a:pt x="32881" y="17704"/>
                  </a:lnTo>
                  <a:lnTo>
                    <a:pt x="34146" y="17704"/>
                  </a:lnTo>
                  <a:lnTo>
                    <a:pt x="35411" y="17704"/>
                  </a:lnTo>
                  <a:lnTo>
                    <a:pt x="6323" y="0"/>
                  </a:lnTo>
                  <a:lnTo>
                    <a:pt x="0" y="1265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464B933-13BC-402D-9C6C-F61A0D3ED9FF}"/>
                </a:ext>
              </a:extLst>
            </p:cNvPr>
            <p:cNvSpPr/>
            <p:nvPr/>
          </p:nvSpPr>
          <p:spPr>
            <a:xfrm>
              <a:off x="10308009" y="4850356"/>
              <a:ext cx="45527" cy="183360"/>
            </a:xfrm>
            <a:custGeom>
              <a:avLst/>
              <a:gdLst>
                <a:gd name="connsiteX0" fmla="*/ 11382 w 45527"/>
                <a:gd name="connsiteY0" fmla="*/ 8852 h 183360"/>
                <a:gd name="connsiteX1" fmla="*/ 2529 w 45527"/>
                <a:gd name="connsiteY1" fmla="*/ 3794 h 183360"/>
                <a:gd name="connsiteX2" fmla="*/ 0 w 45527"/>
                <a:gd name="connsiteY2" fmla="*/ 0 h 183360"/>
                <a:gd name="connsiteX3" fmla="*/ 0 w 45527"/>
                <a:gd name="connsiteY3" fmla="*/ 0 h 183360"/>
                <a:gd name="connsiteX4" fmla="*/ 1265 w 45527"/>
                <a:gd name="connsiteY4" fmla="*/ 6323 h 183360"/>
                <a:gd name="connsiteX5" fmla="*/ 36675 w 45527"/>
                <a:gd name="connsiteY5" fmla="*/ 183361 h 183360"/>
                <a:gd name="connsiteX6" fmla="*/ 40469 w 45527"/>
                <a:gd name="connsiteY6" fmla="*/ 182096 h 183360"/>
                <a:gd name="connsiteX7" fmla="*/ 45528 w 45527"/>
                <a:gd name="connsiteY7" fmla="*/ 179567 h 183360"/>
                <a:gd name="connsiteX8" fmla="*/ 11382 w 45527"/>
                <a:gd name="connsiteY8" fmla="*/ 8852 h 183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527" h="183360">
                  <a:moveTo>
                    <a:pt x="11382" y="8852"/>
                  </a:moveTo>
                  <a:lnTo>
                    <a:pt x="2529" y="3794"/>
                  </a:lnTo>
                  <a:cubicBezTo>
                    <a:pt x="1265" y="2529"/>
                    <a:pt x="0" y="1265"/>
                    <a:pt x="0" y="0"/>
                  </a:cubicBezTo>
                  <a:lnTo>
                    <a:pt x="0" y="0"/>
                  </a:lnTo>
                  <a:lnTo>
                    <a:pt x="1265" y="6323"/>
                  </a:lnTo>
                  <a:lnTo>
                    <a:pt x="36675" y="183361"/>
                  </a:lnTo>
                  <a:lnTo>
                    <a:pt x="40469" y="182096"/>
                  </a:lnTo>
                  <a:lnTo>
                    <a:pt x="45528" y="179567"/>
                  </a:lnTo>
                  <a:lnTo>
                    <a:pt x="11382" y="8852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B283F884-4524-4DC6-B96A-0D891CEFC91C}"/>
                </a:ext>
              </a:extLst>
            </p:cNvPr>
            <p:cNvSpPr/>
            <p:nvPr/>
          </p:nvSpPr>
          <p:spPr>
            <a:xfrm>
              <a:off x="10311803" y="4845298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C5711CD4-BDA4-40BC-AA9C-E29C822575A8}"/>
                </a:ext>
              </a:extLst>
            </p:cNvPr>
            <p:cNvSpPr/>
            <p:nvPr/>
          </p:nvSpPr>
          <p:spPr>
            <a:xfrm>
              <a:off x="10314332" y="4845298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6CC882F3-59CA-4F4A-B728-C4FC521C8336}"/>
                </a:ext>
              </a:extLst>
            </p:cNvPr>
            <p:cNvSpPr/>
            <p:nvPr/>
          </p:nvSpPr>
          <p:spPr>
            <a:xfrm>
              <a:off x="10308009" y="4846562"/>
              <a:ext cx="193493" cy="113810"/>
            </a:xfrm>
            <a:custGeom>
              <a:avLst/>
              <a:gdLst>
                <a:gd name="connsiteX0" fmla="*/ 11382 w 193493"/>
                <a:gd name="connsiteY0" fmla="*/ 12646 h 113810"/>
                <a:gd name="connsiteX1" fmla="*/ 183376 w 193493"/>
                <a:gd name="connsiteY1" fmla="*/ 113810 h 113810"/>
                <a:gd name="connsiteX2" fmla="*/ 190964 w 193493"/>
                <a:gd name="connsiteY2" fmla="*/ 110017 h 113810"/>
                <a:gd name="connsiteX3" fmla="*/ 193493 w 193493"/>
                <a:gd name="connsiteY3" fmla="*/ 108752 h 113810"/>
                <a:gd name="connsiteX4" fmla="*/ 6323 w 193493"/>
                <a:gd name="connsiteY4" fmla="*/ 0 h 113810"/>
                <a:gd name="connsiteX5" fmla="*/ 6323 w 193493"/>
                <a:gd name="connsiteY5" fmla="*/ 0 h 113810"/>
                <a:gd name="connsiteX6" fmla="*/ 6323 w 193493"/>
                <a:gd name="connsiteY6" fmla="*/ 0 h 113810"/>
                <a:gd name="connsiteX7" fmla="*/ 5059 w 193493"/>
                <a:gd name="connsiteY7" fmla="*/ 0 h 113810"/>
                <a:gd name="connsiteX8" fmla="*/ 2529 w 193493"/>
                <a:gd name="connsiteY8" fmla="*/ 0 h 113810"/>
                <a:gd name="connsiteX9" fmla="*/ 2529 w 193493"/>
                <a:gd name="connsiteY9" fmla="*/ 0 h 113810"/>
                <a:gd name="connsiteX10" fmla="*/ 1265 w 193493"/>
                <a:gd name="connsiteY10" fmla="*/ 0 h 113810"/>
                <a:gd name="connsiteX11" fmla="*/ 0 w 193493"/>
                <a:gd name="connsiteY11" fmla="*/ 0 h 113810"/>
                <a:gd name="connsiteX12" fmla="*/ 0 w 193493"/>
                <a:gd name="connsiteY12" fmla="*/ 1265 h 113810"/>
                <a:gd name="connsiteX13" fmla="*/ 0 w 193493"/>
                <a:gd name="connsiteY13" fmla="*/ 1265 h 113810"/>
                <a:gd name="connsiteX14" fmla="*/ 0 w 193493"/>
                <a:gd name="connsiteY14" fmla="*/ 1265 h 113810"/>
                <a:gd name="connsiteX15" fmla="*/ 0 w 193493"/>
                <a:gd name="connsiteY15" fmla="*/ 2529 h 113810"/>
                <a:gd name="connsiteX16" fmla="*/ 0 w 193493"/>
                <a:gd name="connsiteY16" fmla="*/ 3794 h 113810"/>
                <a:gd name="connsiteX17" fmla="*/ 2529 w 193493"/>
                <a:gd name="connsiteY17" fmla="*/ 7587 h 113810"/>
                <a:gd name="connsiteX18" fmla="*/ 11382 w 193493"/>
                <a:gd name="connsiteY18" fmla="*/ 12646 h 113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3493" h="113810">
                  <a:moveTo>
                    <a:pt x="11382" y="12646"/>
                  </a:moveTo>
                  <a:lnTo>
                    <a:pt x="183376" y="113810"/>
                  </a:lnTo>
                  <a:lnTo>
                    <a:pt x="190964" y="110017"/>
                  </a:lnTo>
                  <a:lnTo>
                    <a:pt x="193493" y="108752"/>
                  </a:lnTo>
                  <a:lnTo>
                    <a:pt x="6323" y="0"/>
                  </a:lnTo>
                  <a:lnTo>
                    <a:pt x="6323" y="0"/>
                  </a:lnTo>
                  <a:lnTo>
                    <a:pt x="6323" y="0"/>
                  </a:lnTo>
                  <a:lnTo>
                    <a:pt x="5059" y="0"/>
                  </a:lnTo>
                  <a:lnTo>
                    <a:pt x="2529" y="0"/>
                  </a:lnTo>
                  <a:lnTo>
                    <a:pt x="2529" y="0"/>
                  </a:lnTo>
                  <a:lnTo>
                    <a:pt x="1265" y="0"/>
                  </a:lnTo>
                  <a:lnTo>
                    <a:pt x="0" y="0"/>
                  </a:lnTo>
                  <a:lnTo>
                    <a:pt x="0" y="1265"/>
                  </a:lnTo>
                  <a:lnTo>
                    <a:pt x="0" y="1265"/>
                  </a:lnTo>
                  <a:lnTo>
                    <a:pt x="0" y="1265"/>
                  </a:lnTo>
                  <a:cubicBezTo>
                    <a:pt x="0" y="1265"/>
                    <a:pt x="0" y="1265"/>
                    <a:pt x="0" y="2529"/>
                  </a:cubicBezTo>
                  <a:cubicBezTo>
                    <a:pt x="0" y="2529"/>
                    <a:pt x="0" y="3794"/>
                    <a:pt x="0" y="3794"/>
                  </a:cubicBezTo>
                  <a:cubicBezTo>
                    <a:pt x="0" y="5059"/>
                    <a:pt x="1265" y="6323"/>
                    <a:pt x="2529" y="7587"/>
                  </a:cubicBezTo>
                  <a:lnTo>
                    <a:pt x="11382" y="12646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184B79C-7B5C-444C-9CB7-DC252386E593}"/>
                </a:ext>
              </a:extLst>
            </p:cNvPr>
            <p:cNvSpPr/>
            <p:nvPr/>
          </p:nvSpPr>
          <p:spPr>
            <a:xfrm>
              <a:off x="11194537" y="4911055"/>
              <a:ext cx="365487" cy="194741"/>
            </a:xfrm>
            <a:custGeom>
              <a:avLst/>
              <a:gdLst>
                <a:gd name="connsiteX0" fmla="*/ 365487 w 365487"/>
                <a:gd name="connsiteY0" fmla="*/ 1265 h 194741"/>
                <a:gd name="connsiteX1" fmla="*/ 362958 w 365487"/>
                <a:gd name="connsiteY1" fmla="*/ 0 h 194741"/>
                <a:gd name="connsiteX2" fmla="*/ 362958 w 365487"/>
                <a:gd name="connsiteY2" fmla="*/ 0 h 194741"/>
                <a:gd name="connsiteX3" fmla="*/ 361693 w 365487"/>
                <a:gd name="connsiteY3" fmla="*/ 0 h 194741"/>
                <a:gd name="connsiteX4" fmla="*/ 361693 w 365487"/>
                <a:gd name="connsiteY4" fmla="*/ 0 h 194741"/>
                <a:gd name="connsiteX5" fmla="*/ 0 w 365487"/>
                <a:gd name="connsiteY5" fmla="*/ 190948 h 194741"/>
                <a:gd name="connsiteX6" fmla="*/ 0 w 365487"/>
                <a:gd name="connsiteY6" fmla="*/ 190948 h 194741"/>
                <a:gd name="connsiteX7" fmla="*/ 1265 w 365487"/>
                <a:gd name="connsiteY7" fmla="*/ 194742 h 194741"/>
                <a:gd name="connsiteX8" fmla="*/ 6323 w 365487"/>
                <a:gd name="connsiteY8" fmla="*/ 192213 h 194741"/>
                <a:gd name="connsiteX9" fmla="*/ 365487 w 365487"/>
                <a:gd name="connsiteY9" fmla="*/ 1265 h 194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5487" h="194741">
                  <a:moveTo>
                    <a:pt x="365487" y="1265"/>
                  </a:moveTo>
                  <a:lnTo>
                    <a:pt x="362958" y="0"/>
                  </a:lnTo>
                  <a:lnTo>
                    <a:pt x="362958" y="0"/>
                  </a:lnTo>
                  <a:lnTo>
                    <a:pt x="361693" y="0"/>
                  </a:lnTo>
                  <a:lnTo>
                    <a:pt x="361693" y="0"/>
                  </a:lnTo>
                  <a:lnTo>
                    <a:pt x="0" y="190948"/>
                  </a:lnTo>
                  <a:cubicBezTo>
                    <a:pt x="0" y="190948"/>
                    <a:pt x="0" y="190948"/>
                    <a:pt x="0" y="190948"/>
                  </a:cubicBezTo>
                  <a:lnTo>
                    <a:pt x="1265" y="194742"/>
                  </a:lnTo>
                  <a:lnTo>
                    <a:pt x="6323" y="192213"/>
                  </a:lnTo>
                  <a:lnTo>
                    <a:pt x="365487" y="1265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5742FB3F-6A78-4DD2-9D10-BD062F6E783C}"/>
                </a:ext>
              </a:extLst>
            </p:cNvPr>
            <p:cNvSpPr/>
            <p:nvPr/>
          </p:nvSpPr>
          <p:spPr>
            <a:xfrm>
              <a:off x="11733283" y="6601766"/>
              <a:ext cx="48057" cy="252910"/>
            </a:xfrm>
            <a:custGeom>
              <a:avLst/>
              <a:gdLst>
                <a:gd name="connsiteX0" fmla="*/ 5059 w 48057"/>
                <a:gd name="connsiteY0" fmla="*/ 1265 h 252910"/>
                <a:gd name="connsiteX1" fmla="*/ 5059 w 48057"/>
                <a:gd name="connsiteY1" fmla="*/ 1265 h 252910"/>
                <a:gd name="connsiteX2" fmla="*/ 5059 w 48057"/>
                <a:gd name="connsiteY2" fmla="*/ 1265 h 252910"/>
                <a:gd name="connsiteX3" fmla="*/ 5059 w 48057"/>
                <a:gd name="connsiteY3" fmla="*/ 1265 h 252910"/>
                <a:gd name="connsiteX4" fmla="*/ 2529 w 48057"/>
                <a:gd name="connsiteY4" fmla="*/ 1265 h 252910"/>
                <a:gd name="connsiteX5" fmla="*/ 1265 w 48057"/>
                <a:gd name="connsiteY5" fmla="*/ 1265 h 252910"/>
                <a:gd name="connsiteX6" fmla="*/ 1265 w 48057"/>
                <a:gd name="connsiteY6" fmla="*/ 1265 h 252910"/>
                <a:gd name="connsiteX7" fmla="*/ 0 w 48057"/>
                <a:gd name="connsiteY7" fmla="*/ 0 h 252910"/>
                <a:gd name="connsiteX8" fmla="*/ 39205 w 48057"/>
                <a:gd name="connsiteY8" fmla="*/ 252911 h 252910"/>
                <a:gd name="connsiteX9" fmla="*/ 48057 w 48057"/>
                <a:gd name="connsiteY9" fmla="*/ 252911 h 252910"/>
                <a:gd name="connsiteX10" fmla="*/ 8853 w 48057"/>
                <a:gd name="connsiteY10" fmla="*/ 0 h 252910"/>
                <a:gd name="connsiteX11" fmla="*/ 5059 w 48057"/>
                <a:gd name="connsiteY11" fmla="*/ 1265 h 252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8057" h="252910">
                  <a:moveTo>
                    <a:pt x="5059" y="1265"/>
                  </a:moveTo>
                  <a:lnTo>
                    <a:pt x="5059" y="1265"/>
                  </a:lnTo>
                  <a:lnTo>
                    <a:pt x="5059" y="1265"/>
                  </a:lnTo>
                  <a:lnTo>
                    <a:pt x="5059" y="1265"/>
                  </a:lnTo>
                  <a:lnTo>
                    <a:pt x="2529" y="1265"/>
                  </a:lnTo>
                  <a:lnTo>
                    <a:pt x="1265" y="1265"/>
                  </a:lnTo>
                  <a:lnTo>
                    <a:pt x="1265" y="1265"/>
                  </a:lnTo>
                  <a:lnTo>
                    <a:pt x="0" y="0"/>
                  </a:lnTo>
                  <a:lnTo>
                    <a:pt x="39205" y="252911"/>
                  </a:lnTo>
                  <a:lnTo>
                    <a:pt x="48057" y="252911"/>
                  </a:lnTo>
                  <a:lnTo>
                    <a:pt x="8853" y="0"/>
                  </a:lnTo>
                  <a:lnTo>
                    <a:pt x="5059" y="1265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873C42DD-8298-4452-AC9F-0974CC345149}"/>
                </a:ext>
              </a:extLst>
            </p:cNvPr>
            <p:cNvSpPr/>
            <p:nvPr/>
          </p:nvSpPr>
          <p:spPr>
            <a:xfrm>
              <a:off x="10983338" y="3932288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EE791905-E294-4FE8-936E-319C4D08B27F}"/>
                </a:ext>
              </a:extLst>
            </p:cNvPr>
            <p:cNvSpPr/>
            <p:nvPr/>
          </p:nvSpPr>
          <p:spPr>
            <a:xfrm>
              <a:off x="10982074" y="3932288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1DFFF5F8-97A6-4E20-AA5F-7C866258E724}"/>
                </a:ext>
              </a:extLst>
            </p:cNvPr>
            <p:cNvSpPr/>
            <p:nvPr/>
          </p:nvSpPr>
          <p:spPr>
            <a:xfrm>
              <a:off x="10601411" y="3933553"/>
              <a:ext cx="378133" cy="184625"/>
            </a:xfrm>
            <a:custGeom>
              <a:avLst/>
              <a:gdLst>
                <a:gd name="connsiteX0" fmla="*/ 6323 w 378133"/>
                <a:gd name="connsiteY0" fmla="*/ 178302 h 184625"/>
                <a:gd name="connsiteX1" fmla="*/ 3794 w 378133"/>
                <a:gd name="connsiteY1" fmla="*/ 184625 h 184625"/>
                <a:gd name="connsiteX2" fmla="*/ 7588 w 378133"/>
                <a:gd name="connsiteY2" fmla="*/ 183361 h 184625"/>
                <a:gd name="connsiteX3" fmla="*/ 376869 w 378133"/>
                <a:gd name="connsiteY3" fmla="*/ 10116 h 184625"/>
                <a:gd name="connsiteX4" fmla="*/ 375605 w 378133"/>
                <a:gd name="connsiteY4" fmla="*/ 3794 h 184625"/>
                <a:gd name="connsiteX5" fmla="*/ 375605 w 378133"/>
                <a:gd name="connsiteY5" fmla="*/ 3794 h 184625"/>
                <a:gd name="connsiteX6" fmla="*/ 375605 w 378133"/>
                <a:gd name="connsiteY6" fmla="*/ 2529 h 184625"/>
                <a:gd name="connsiteX7" fmla="*/ 375605 w 378133"/>
                <a:gd name="connsiteY7" fmla="*/ 1265 h 184625"/>
                <a:gd name="connsiteX8" fmla="*/ 375605 w 378133"/>
                <a:gd name="connsiteY8" fmla="*/ 1265 h 184625"/>
                <a:gd name="connsiteX9" fmla="*/ 375605 w 378133"/>
                <a:gd name="connsiteY9" fmla="*/ 1265 h 184625"/>
                <a:gd name="connsiteX10" fmla="*/ 375605 w 378133"/>
                <a:gd name="connsiteY10" fmla="*/ 0 h 184625"/>
                <a:gd name="connsiteX11" fmla="*/ 376869 w 378133"/>
                <a:gd name="connsiteY11" fmla="*/ 0 h 184625"/>
                <a:gd name="connsiteX12" fmla="*/ 378134 w 378133"/>
                <a:gd name="connsiteY12" fmla="*/ 0 h 184625"/>
                <a:gd name="connsiteX13" fmla="*/ 378134 w 378133"/>
                <a:gd name="connsiteY13" fmla="*/ 0 h 184625"/>
                <a:gd name="connsiteX14" fmla="*/ 0 w 378133"/>
                <a:gd name="connsiteY14" fmla="*/ 177038 h 184625"/>
                <a:gd name="connsiteX15" fmla="*/ 6323 w 378133"/>
                <a:gd name="connsiteY15" fmla="*/ 178302 h 184625"/>
                <a:gd name="connsiteX16" fmla="*/ 6323 w 378133"/>
                <a:gd name="connsiteY16" fmla="*/ 178302 h 184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78133" h="184625">
                  <a:moveTo>
                    <a:pt x="6323" y="178302"/>
                  </a:moveTo>
                  <a:cubicBezTo>
                    <a:pt x="7588" y="180831"/>
                    <a:pt x="6323" y="183361"/>
                    <a:pt x="3794" y="184625"/>
                  </a:cubicBezTo>
                  <a:lnTo>
                    <a:pt x="7588" y="183361"/>
                  </a:lnTo>
                  <a:lnTo>
                    <a:pt x="376869" y="10116"/>
                  </a:lnTo>
                  <a:lnTo>
                    <a:pt x="375605" y="3794"/>
                  </a:lnTo>
                  <a:lnTo>
                    <a:pt x="375605" y="3794"/>
                  </a:lnTo>
                  <a:cubicBezTo>
                    <a:pt x="375605" y="3794"/>
                    <a:pt x="375605" y="2529"/>
                    <a:pt x="375605" y="2529"/>
                  </a:cubicBezTo>
                  <a:cubicBezTo>
                    <a:pt x="375605" y="2529"/>
                    <a:pt x="375605" y="2529"/>
                    <a:pt x="375605" y="1265"/>
                  </a:cubicBezTo>
                  <a:lnTo>
                    <a:pt x="375605" y="1265"/>
                  </a:lnTo>
                  <a:lnTo>
                    <a:pt x="375605" y="1265"/>
                  </a:lnTo>
                  <a:lnTo>
                    <a:pt x="375605" y="0"/>
                  </a:lnTo>
                  <a:lnTo>
                    <a:pt x="376869" y="0"/>
                  </a:lnTo>
                  <a:lnTo>
                    <a:pt x="378134" y="0"/>
                  </a:lnTo>
                  <a:lnTo>
                    <a:pt x="378134" y="0"/>
                  </a:lnTo>
                  <a:lnTo>
                    <a:pt x="0" y="177038"/>
                  </a:lnTo>
                  <a:cubicBezTo>
                    <a:pt x="0" y="175773"/>
                    <a:pt x="3794" y="175773"/>
                    <a:pt x="6323" y="178302"/>
                  </a:cubicBezTo>
                  <a:cubicBezTo>
                    <a:pt x="5059" y="177038"/>
                    <a:pt x="6323" y="177038"/>
                    <a:pt x="6323" y="178302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67EC6BC-55F4-4E87-8A9A-B1D16EA33B96}"/>
                </a:ext>
              </a:extLst>
            </p:cNvPr>
            <p:cNvSpPr/>
            <p:nvPr/>
          </p:nvSpPr>
          <p:spPr>
            <a:xfrm>
              <a:off x="10584970" y="4108830"/>
              <a:ext cx="23260" cy="15670"/>
            </a:xfrm>
            <a:custGeom>
              <a:avLst/>
              <a:gdLst>
                <a:gd name="connsiteX0" fmla="*/ 3794 w 23260"/>
                <a:gd name="connsiteY0" fmla="*/ 9348 h 15670"/>
                <a:gd name="connsiteX1" fmla="*/ 3794 w 23260"/>
                <a:gd name="connsiteY1" fmla="*/ 9348 h 15670"/>
                <a:gd name="connsiteX2" fmla="*/ 3794 w 23260"/>
                <a:gd name="connsiteY2" fmla="*/ 9348 h 15670"/>
                <a:gd name="connsiteX3" fmla="*/ 5059 w 23260"/>
                <a:gd name="connsiteY3" fmla="*/ 10612 h 15670"/>
                <a:gd name="connsiteX4" fmla="*/ 5059 w 23260"/>
                <a:gd name="connsiteY4" fmla="*/ 11877 h 15670"/>
                <a:gd name="connsiteX5" fmla="*/ 5059 w 23260"/>
                <a:gd name="connsiteY5" fmla="*/ 11877 h 15670"/>
                <a:gd name="connsiteX6" fmla="*/ 6323 w 23260"/>
                <a:gd name="connsiteY6" fmla="*/ 15671 h 15670"/>
                <a:gd name="connsiteX7" fmla="*/ 15176 w 23260"/>
                <a:gd name="connsiteY7" fmla="*/ 11877 h 15670"/>
                <a:gd name="connsiteX8" fmla="*/ 20235 w 23260"/>
                <a:gd name="connsiteY8" fmla="*/ 9348 h 15670"/>
                <a:gd name="connsiteX9" fmla="*/ 22764 w 23260"/>
                <a:gd name="connsiteY9" fmla="*/ 3025 h 15670"/>
                <a:gd name="connsiteX10" fmla="*/ 16441 w 23260"/>
                <a:gd name="connsiteY10" fmla="*/ 496 h 15670"/>
                <a:gd name="connsiteX11" fmla="*/ 0 w 23260"/>
                <a:gd name="connsiteY11" fmla="*/ 6819 h 15670"/>
                <a:gd name="connsiteX12" fmla="*/ 2529 w 23260"/>
                <a:gd name="connsiteY12" fmla="*/ 8084 h 15670"/>
                <a:gd name="connsiteX13" fmla="*/ 3794 w 23260"/>
                <a:gd name="connsiteY13" fmla="*/ 9348 h 15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3260" h="15670">
                  <a:moveTo>
                    <a:pt x="3794" y="9348"/>
                  </a:moveTo>
                  <a:lnTo>
                    <a:pt x="3794" y="9348"/>
                  </a:lnTo>
                  <a:lnTo>
                    <a:pt x="3794" y="9348"/>
                  </a:lnTo>
                  <a:lnTo>
                    <a:pt x="5059" y="10612"/>
                  </a:lnTo>
                  <a:lnTo>
                    <a:pt x="5059" y="11877"/>
                  </a:lnTo>
                  <a:lnTo>
                    <a:pt x="5059" y="11877"/>
                  </a:lnTo>
                  <a:lnTo>
                    <a:pt x="6323" y="15671"/>
                  </a:lnTo>
                  <a:lnTo>
                    <a:pt x="15176" y="11877"/>
                  </a:lnTo>
                  <a:lnTo>
                    <a:pt x="20235" y="9348"/>
                  </a:lnTo>
                  <a:cubicBezTo>
                    <a:pt x="22764" y="8084"/>
                    <a:pt x="24028" y="5554"/>
                    <a:pt x="22764" y="3025"/>
                  </a:cubicBezTo>
                  <a:cubicBezTo>
                    <a:pt x="21499" y="496"/>
                    <a:pt x="18970" y="-769"/>
                    <a:pt x="16441" y="496"/>
                  </a:cubicBezTo>
                  <a:lnTo>
                    <a:pt x="0" y="6819"/>
                  </a:lnTo>
                  <a:lnTo>
                    <a:pt x="2529" y="8084"/>
                  </a:lnTo>
                  <a:cubicBezTo>
                    <a:pt x="1265" y="8084"/>
                    <a:pt x="3794" y="8084"/>
                    <a:pt x="3794" y="9348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5D989A2C-B640-4813-AD82-A6CA267292D7}"/>
                </a:ext>
              </a:extLst>
            </p:cNvPr>
            <p:cNvSpPr/>
            <p:nvPr/>
          </p:nvSpPr>
          <p:spPr>
            <a:xfrm>
              <a:off x="10103134" y="3226666"/>
              <a:ext cx="972524" cy="432478"/>
            </a:xfrm>
            <a:custGeom>
              <a:avLst/>
              <a:gdLst>
                <a:gd name="connsiteX0" fmla="*/ 1265 w 972524"/>
                <a:gd name="connsiteY0" fmla="*/ 432478 h 432478"/>
                <a:gd name="connsiteX1" fmla="*/ 972525 w 972524"/>
                <a:gd name="connsiteY1" fmla="*/ 8852 h 432478"/>
                <a:gd name="connsiteX2" fmla="*/ 971260 w 972524"/>
                <a:gd name="connsiteY2" fmla="*/ 3794 h 432478"/>
                <a:gd name="connsiteX3" fmla="*/ 971260 w 972524"/>
                <a:gd name="connsiteY3" fmla="*/ 0 h 432478"/>
                <a:gd name="connsiteX4" fmla="*/ 0 w 972524"/>
                <a:gd name="connsiteY4" fmla="*/ 423626 h 432478"/>
                <a:gd name="connsiteX5" fmla="*/ 1265 w 972524"/>
                <a:gd name="connsiteY5" fmla="*/ 428685 h 43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2524" h="432478">
                  <a:moveTo>
                    <a:pt x="1265" y="432478"/>
                  </a:moveTo>
                  <a:lnTo>
                    <a:pt x="972525" y="8852"/>
                  </a:lnTo>
                  <a:lnTo>
                    <a:pt x="971260" y="3794"/>
                  </a:lnTo>
                  <a:lnTo>
                    <a:pt x="971260" y="0"/>
                  </a:lnTo>
                  <a:lnTo>
                    <a:pt x="0" y="423626"/>
                  </a:lnTo>
                  <a:lnTo>
                    <a:pt x="1265" y="428685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4947C583-E94D-4D18-9AF3-1AD4D5525AF6}"/>
                </a:ext>
              </a:extLst>
            </p:cNvPr>
            <p:cNvSpPr/>
            <p:nvPr/>
          </p:nvSpPr>
          <p:spPr>
            <a:xfrm>
              <a:off x="10582441" y="4120707"/>
              <a:ext cx="141642" cy="724590"/>
            </a:xfrm>
            <a:custGeom>
              <a:avLst/>
              <a:gdLst>
                <a:gd name="connsiteX0" fmla="*/ 137848 w 141642"/>
                <a:gd name="connsiteY0" fmla="*/ 724591 h 724590"/>
                <a:gd name="connsiteX1" fmla="*/ 141642 w 141642"/>
                <a:gd name="connsiteY1" fmla="*/ 723326 h 724590"/>
                <a:gd name="connsiteX2" fmla="*/ 10117 w 141642"/>
                <a:gd name="connsiteY2" fmla="*/ 3794 h 724590"/>
                <a:gd name="connsiteX3" fmla="*/ 8853 w 141642"/>
                <a:gd name="connsiteY3" fmla="*/ 0 h 724590"/>
                <a:gd name="connsiteX4" fmla="*/ 8853 w 141642"/>
                <a:gd name="connsiteY4" fmla="*/ 0 h 724590"/>
                <a:gd name="connsiteX5" fmla="*/ 8853 w 141642"/>
                <a:gd name="connsiteY5" fmla="*/ 3794 h 724590"/>
                <a:gd name="connsiteX6" fmla="*/ 2529 w 141642"/>
                <a:gd name="connsiteY6" fmla="*/ 6323 h 724590"/>
                <a:gd name="connsiteX7" fmla="*/ 2529 w 141642"/>
                <a:gd name="connsiteY7" fmla="*/ 6323 h 724590"/>
                <a:gd name="connsiteX8" fmla="*/ 0 w 141642"/>
                <a:gd name="connsiteY8" fmla="*/ 5058 h 724590"/>
                <a:gd name="connsiteX9" fmla="*/ 131525 w 141642"/>
                <a:gd name="connsiteY9" fmla="*/ 722062 h 724590"/>
                <a:gd name="connsiteX10" fmla="*/ 137848 w 141642"/>
                <a:gd name="connsiteY10" fmla="*/ 724591 h 724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642" h="724590">
                  <a:moveTo>
                    <a:pt x="137848" y="724591"/>
                  </a:moveTo>
                  <a:lnTo>
                    <a:pt x="141642" y="723326"/>
                  </a:lnTo>
                  <a:lnTo>
                    <a:pt x="10117" y="3794"/>
                  </a:lnTo>
                  <a:lnTo>
                    <a:pt x="8853" y="0"/>
                  </a:lnTo>
                  <a:lnTo>
                    <a:pt x="8853" y="0"/>
                  </a:lnTo>
                  <a:cubicBezTo>
                    <a:pt x="8853" y="1265"/>
                    <a:pt x="8853" y="2529"/>
                    <a:pt x="8853" y="3794"/>
                  </a:cubicBezTo>
                  <a:cubicBezTo>
                    <a:pt x="7588" y="6323"/>
                    <a:pt x="5059" y="6323"/>
                    <a:pt x="2529" y="6323"/>
                  </a:cubicBezTo>
                  <a:cubicBezTo>
                    <a:pt x="2529" y="6323"/>
                    <a:pt x="2529" y="6323"/>
                    <a:pt x="2529" y="6323"/>
                  </a:cubicBezTo>
                  <a:lnTo>
                    <a:pt x="0" y="5058"/>
                  </a:lnTo>
                  <a:lnTo>
                    <a:pt x="131525" y="722062"/>
                  </a:lnTo>
                  <a:lnTo>
                    <a:pt x="137848" y="724591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F73C9466-CA74-4025-94EC-F5B728FD7A3E}"/>
                </a:ext>
              </a:extLst>
            </p:cNvPr>
            <p:cNvSpPr/>
            <p:nvPr/>
          </p:nvSpPr>
          <p:spPr>
            <a:xfrm>
              <a:off x="9817320" y="5182934"/>
              <a:ext cx="31616" cy="104958"/>
            </a:xfrm>
            <a:custGeom>
              <a:avLst/>
              <a:gdLst>
                <a:gd name="connsiteX0" fmla="*/ 31617 w 31616"/>
                <a:gd name="connsiteY0" fmla="*/ 101164 h 104958"/>
                <a:gd name="connsiteX1" fmla="*/ 11382 w 31616"/>
                <a:gd name="connsiteY1" fmla="*/ 11381 h 104958"/>
                <a:gd name="connsiteX2" fmla="*/ 8853 w 31616"/>
                <a:gd name="connsiteY2" fmla="*/ 0 h 104958"/>
                <a:gd name="connsiteX3" fmla="*/ 5059 w 31616"/>
                <a:gd name="connsiteY3" fmla="*/ 5058 h 104958"/>
                <a:gd name="connsiteX4" fmla="*/ 5059 w 31616"/>
                <a:gd name="connsiteY4" fmla="*/ 5058 h 104958"/>
                <a:gd name="connsiteX5" fmla="*/ 0 w 31616"/>
                <a:gd name="connsiteY5" fmla="*/ 1265 h 104958"/>
                <a:gd name="connsiteX6" fmla="*/ 0 w 31616"/>
                <a:gd name="connsiteY6" fmla="*/ 1265 h 104958"/>
                <a:gd name="connsiteX7" fmla="*/ 22764 w 31616"/>
                <a:gd name="connsiteY7" fmla="*/ 104958 h 104958"/>
                <a:gd name="connsiteX8" fmla="*/ 26558 w 31616"/>
                <a:gd name="connsiteY8" fmla="*/ 103694 h 104958"/>
                <a:gd name="connsiteX9" fmla="*/ 31617 w 31616"/>
                <a:gd name="connsiteY9" fmla="*/ 101164 h 104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616" h="104958">
                  <a:moveTo>
                    <a:pt x="31617" y="101164"/>
                  </a:moveTo>
                  <a:lnTo>
                    <a:pt x="11382" y="11381"/>
                  </a:lnTo>
                  <a:lnTo>
                    <a:pt x="8853" y="0"/>
                  </a:lnTo>
                  <a:cubicBezTo>
                    <a:pt x="8853" y="2529"/>
                    <a:pt x="7588" y="5058"/>
                    <a:pt x="5059" y="5058"/>
                  </a:cubicBezTo>
                  <a:cubicBezTo>
                    <a:pt x="5059" y="5058"/>
                    <a:pt x="5059" y="5058"/>
                    <a:pt x="5059" y="5058"/>
                  </a:cubicBezTo>
                  <a:cubicBezTo>
                    <a:pt x="2529" y="5058"/>
                    <a:pt x="0" y="3794"/>
                    <a:pt x="0" y="1265"/>
                  </a:cubicBezTo>
                  <a:cubicBezTo>
                    <a:pt x="0" y="1265"/>
                    <a:pt x="0" y="1265"/>
                    <a:pt x="0" y="1265"/>
                  </a:cubicBezTo>
                  <a:lnTo>
                    <a:pt x="22764" y="104958"/>
                  </a:lnTo>
                  <a:lnTo>
                    <a:pt x="26558" y="103694"/>
                  </a:lnTo>
                  <a:lnTo>
                    <a:pt x="31617" y="101164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570D80E9-85C7-4BCE-A4A6-AA10B9443A62}"/>
                </a:ext>
              </a:extLst>
            </p:cNvPr>
            <p:cNvSpPr/>
            <p:nvPr/>
          </p:nvSpPr>
          <p:spPr>
            <a:xfrm>
              <a:off x="11184419" y="5100738"/>
              <a:ext cx="74615" cy="395806"/>
            </a:xfrm>
            <a:custGeom>
              <a:avLst/>
              <a:gdLst>
                <a:gd name="connsiteX0" fmla="*/ 11382 w 74615"/>
                <a:gd name="connsiteY0" fmla="*/ 10117 h 395806"/>
                <a:gd name="connsiteX1" fmla="*/ 10117 w 74615"/>
                <a:gd name="connsiteY1" fmla="*/ 3794 h 395806"/>
                <a:gd name="connsiteX2" fmla="*/ 8853 w 74615"/>
                <a:gd name="connsiteY2" fmla="*/ 0 h 395806"/>
                <a:gd name="connsiteX3" fmla="*/ 8853 w 74615"/>
                <a:gd name="connsiteY3" fmla="*/ 0 h 395806"/>
                <a:gd name="connsiteX4" fmla="*/ 0 w 74615"/>
                <a:gd name="connsiteY4" fmla="*/ 5058 h 395806"/>
                <a:gd name="connsiteX5" fmla="*/ 65763 w 74615"/>
                <a:gd name="connsiteY5" fmla="*/ 395806 h 395806"/>
                <a:gd name="connsiteX6" fmla="*/ 68292 w 74615"/>
                <a:gd name="connsiteY6" fmla="*/ 394542 h 395806"/>
                <a:gd name="connsiteX7" fmla="*/ 74615 w 74615"/>
                <a:gd name="connsiteY7" fmla="*/ 390748 h 395806"/>
                <a:gd name="connsiteX8" fmla="*/ 11382 w 74615"/>
                <a:gd name="connsiteY8" fmla="*/ 10117 h 395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615" h="395806">
                  <a:moveTo>
                    <a:pt x="11382" y="10117"/>
                  </a:moveTo>
                  <a:lnTo>
                    <a:pt x="10117" y="3794"/>
                  </a:lnTo>
                  <a:lnTo>
                    <a:pt x="8853" y="0"/>
                  </a:lnTo>
                  <a:cubicBezTo>
                    <a:pt x="8853" y="0"/>
                    <a:pt x="8853" y="0"/>
                    <a:pt x="8853" y="0"/>
                  </a:cubicBezTo>
                  <a:lnTo>
                    <a:pt x="0" y="5058"/>
                  </a:lnTo>
                  <a:lnTo>
                    <a:pt x="65763" y="395806"/>
                  </a:lnTo>
                  <a:lnTo>
                    <a:pt x="68292" y="394542"/>
                  </a:lnTo>
                  <a:lnTo>
                    <a:pt x="74615" y="390748"/>
                  </a:lnTo>
                  <a:lnTo>
                    <a:pt x="11382" y="10117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C39B436B-529B-44B5-A950-D1CE124F3279}"/>
                </a:ext>
              </a:extLst>
            </p:cNvPr>
            <p:cNvSpPr/>
            <p:nvPr/>
          </p:nvSpPr>
          <p:spPr>
            <a:xfrm>
              <a:off x="11449998" y="4137146"/>
              <a:ext cx="44263" cy="30349"/>
            </a:xfrm>
            <a:custGeom>
              <a:avLst/>
              <a:gdLst>
                <a:gd name="connsiteX0" fmla="*/ 1265 w 44263"/>
                <a:gd name="connsiteY0" fmla="*/ 30349 h 30349"/>
                <a:gd name="connsiteX1" fmla="*/ 44263 w 44263"/>
                <a:gd name="connsiteY1" fmla="*/ 8852 h 30349"/>
                <a:gd name="connsiteX2" fmla="*/ 44263 w 44263"/>
                <a:gd name="connsiteY2" fmla="*/ 3794 h 30349"/>
                <a:gd name="connsiteX3" fmla="*/ 42999 w 44263"/>
                <a:gd name="connsiteY3" fmla="*/ 0 h 30349"/>
                <a:gd name="connsiteX4" fmla="*/ 0 w 44263"/>
                <a:gd name="connsiteY4" fmla="*/ 21497 h 30349"/>
                <a:gd name="connsiteX5" fmla="*/ 1265 w 44263"/>
                <a:gd name="connsiteY5" fmla="*/ 26555 h 30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263" h="30349">
                  <a:moveTo>
                    <a:pt x="1265" y="30349"/>
                  </a:moveTo>
                  <a:lnTo>
                    <a:pt x="44263" y="8852"/>
                  </a:lnTo>
                  <a:lnTo>
                    <a:pt x="44263" y="3794"/>
                  </a:lnTo>
                  <a:lnTo>
                    <a:pt x="42999" y="0"/>
                  </a:lnTo>
                  <a:lnTo>
                    <a:pt x="0" y="21497"/>
                  </a:lnTo>
                  <a:lnTo>
                    <a:pt x="1265" y="26555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947E7AD0-3359-4B88-B849-85B776ED5FF0}"/>
                </a:ext>
              </a:extLst>
            </p:cNvPr>
            <p:cNvSpPr/>
            <p:nvPr/>
          </p:nvSpPr>
          <p:spPr>
            <a:xfrm>
              <a:off x="11214771" y="4049892"/>
              <a:ext cx="12646" cy="948"/>
            </a:xfrm>
            <a:custGeom>
              <a:avLst/>
              <a:gdLst>
                <a:gd name="connsiteX0" fmla="*/ 0 w 12646"/>
                <a:gd name="connsiteY0" fmla="*/ 0 h 948"/>
                <a:gd name="connsiteX1" fmla="*/ 0 w 12646"/>
                <a:gd name="connsiteY1" fmla="*/ 0 h 948"/>
                <a:gd name="connsiteX2" fmla="*/ 0 w 12646"/>
                <a:gd name="connsiteY2" fmla="*/ 0 h 948"/>
                <a:gd name="connsiteX3" fmla="*/ 0 w 12646"/>
                <a:gd name="connsiteY3" fmla="*/ 0 h 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948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0" y="1265"/>
                    <a:pt x="0" y="1265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2C41B442-9954-453D-80F1-ECA1218A00A4}"/>
                </a:ext>
              </a:extLst>
            </p:cNvPr>
            <p:cNvSpPr/>
            <p:nvPr/>
          </p:nvSpPr>
          <p:spPr>
            <a:xfrm>
              <a:off x="10984603" y="3931024"/>
              <a:ext cx="223845" cy="121397"/>
            </a:xfrm>
            <a:custGeom>
              <a:avLst/>
              <a:gdLst>
                <a:gd name="connsiteX0" fmla="*/ 2529 w 223845"/>
                <a:gd name="connsiteY0" fmla="*/ 5058 h 121397"/>
                <a:gd name="connsiteX1" fmla="*/ 3794 w 223845"/>
                <a:gd name="connsiteY1" fmla="*/ 13910 h 121397"/>
                <a:gd name="connsiteX2" fmla="*/ 223845 w 223845"/>
                <a:gd name="connsiteY2" fmla="*/ 121397 h 121397"/>
                <a:gd name="connsiteX3" fmla="*/ 223845 w 223845"/>
                <a:gd name="connsiteY3" fmla="*/ 121397 h 121397"/>
                <a:gd name="connsiteX4" fmla="*/ 221316 w 223845"/>
                <a:gd name="connsiteY4" fmla="*/ 117604 h 121397"/>
                <a:gd name="connsiteX5" fmla="*/ 220051 w 223845"/>
                <a:gd name="connsiteY5" fmla="*/ 108752 h 121397"/>
                <a:gd name="connsiteX6" fmla="*/ 0 w 223845"/>
                <a:gd name="connsiteY6" fmla="*/ 0 h 121397"/>
                <a:gd name="connsiteX7" fmla="*/ 0 w 223845"/>
                <a:gd name="connsiteY7" fmla="*/ 0 h 121397"/>
                <a:gd name="connsiteX8" fmla="*/ 2529 w 223845"/>
                <a:gd name="connsiteY8" fmla="*/ 5058 h 121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3845" h="121397">
                  <a:moveTo>
                    <a:pt x="2529" y="5058"/>
                  </a:moveTo>
                  <a:lnTo>
                    <a:pt x="3794" y="13910"/>
                  </a:lnTo>
                  <a:lnTo>
                    <a:pt x="223845" y="121397"/>
                  </a:lnTo>
                  <a:lnTo>
                    <a:pt x="223845" y="121397"/>
                  </a:lnTo>
                  <a:cubicBezTo>
                    <a:pt x="222580" y="121397"/>
                    <a:pt x="221316" y="120133"/>
                    <a:pt x="221316" y="117604"/>
                  </a:cubicBezTo>
                  <a:lnTo>
                    <a:pt x="220051" y="108752"/>
                  </a:lnTo>
                  <a:lnTo>
                    <a:pt x="0" y="0"/>
                  </a:lnTo>
                  <a:lnTo>
                    <a:pt x="0" y="0"/>
                  </a:lnTo>
                  <a:cubicBezTo>
                    <a:pt x="1265" y="1265"/>
                    <a:pt x="1265" y="2529"/>
                    <a:pt x="2529" y="5058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3A6A6689-DAE2-416A-A9D3-C4F66229AFE3}"/>
                </a:ext>
              </a:extLst>
            </p:cNvPr>
            <p:cNvSpPr/>
            <p:nvPr/>
          </p:nvSpPr>
          <p:spPr>
            <a:xfrm>
              <a:off x="10982074" y="3932288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98D1E467-CADB-41DA-BFBD-130617E0EC7E}"/>
                </a:ext>
              </a:extLst>
            </p:cNvPr>
            <p:cNvSpPr/>
            <p:nvPr/>
          </p:nvSpPr>
          <p:spPr>
            <a:xfrm>
              <a:off x="10980809" y="3932288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30643B74-4147-4BAE-87F5-CE3292D80FA0}"/>
                </a:ext>
              </a:extLst>
            </p:cNvPr>
            <p:cNvSpPr/>
            <p:nvPr/>
          </p:nvSpPr>
          <p:spPr>
            <a:xfrm>
              <a:off x="10978280" y="3934255"/>
              <a:ext cx="12646" cy="562"/>
            </a:xfrm>
            <a:custGeom>
              <a:avLst/>
              <a:gdLst>
                <a:gd name="connsiteX0" fmla="*/ 0 w 12646"/>
                <a:gd name="connsiteY0" fmla="*/ 562 h 562"/>
                <a:gd name="connsiteX1" fmla="*/ 0 w 12646"/>
                <a:gd name="connsiteY1" fmla="*/ 562 h 562"/>
                <a:gd name="connsiteX2" fmla="*/ 0 w 12646"/>
                <a:gd name="connsiteY2" fmla="*/ 562 h 562"/>
                <a:gd name="connsiteX3" fmla="*/ 0 w 12646"/>
                <a:gd name="connsiteY3" fmla="*/ 562 h 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562">
                  <a:moveTo>
                    <a:pt x="0" y="562"/>
                  </a:moveTo>
                  <a:lnTo>
                    <a:pt x="0" y="562"/>
                  </a:lnTo>
                  <a:cubicBezTo>
                    <a:pt x="0" y="562"/>
                    <a:pt x="0" y="-703"/>
                    <a:pt x="0" y="562"/>
                  </a:cubicBezTo>
                  <a:lnTo>
                    <a:pt x="0" y="562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AE0F5BC0-95AF-41EC-A47E-1653D6E66160}"/>
                </a:ext>
              </a:extLst>
            </p:cNvPr>
            <p:cNvSpPr/>
            <p:nvPr/>
          </p:nvSpPr>
          <p:spPr>
            <a:xfrm>
              <a:off x="9743970" y="5338475"/>
              <a:ext cx="12646" cy="948"/>
            </a:xfrm>
            <a:custGeom>
              <a:avLst/>
              <a:gdLst>
                <a:gd name="connsiteX0" fmla="*/ 0 w 12646"/>
                <a:gd name="connsiteY0" fmla="*/ 0 h 948"/>
                <a:gd name="connsiteX1" fmla="*/ 0 w 12646"/>
                <a:gd name="connsiteY1" fmla="*/ 0 h 948"/>
                <a:gd name="connsiteX2" fmla="*/ 0 w 12646"/>
                <a:gd name="connsiteY2" fmla="*/ 0 h 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948">
                  <a:moveTo>
                    <a:pt x="0" y="0"/>
                  </a:moveTo>
                  <a:cubicBezTo>
                    <a:pt x="0" y="1264"/>
                    <a:pt x="0" y="1264"/>
                    <a:pt x="0" y="0"/>
                  </a:cubicBezTo>
                  <a:cubicBezTo>
                    <a:pt x="0" y="1264"/>
                    <a:pt x="0" y="1264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DAEFD4A6-82AA-43B0-846D-95545C182534}"/>
                </a:ext>
              </a:extLst>
            </p:cNvPr>
            <p:cNvSpPr/>
            <p:nvPr/>
          </p:nvSpPr>
          <p:spPr>
            <a:xfrm>
              <a:off x="9743970" y="5337210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2938AC6B-2CF2-4650-AD2A-B02E1E74685F}"/>
                </a:ext>
              </a:extLst>
            </p:cNvPr>
            <p:cNvSpPr/>
            <p:nvPr/>
          </p:nvSpPr>
          <p:spPr>
            <a:xfrm>
              <a:off x="9745235" y="5335945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1959058E-A9E8-4CFD-849F-AFDA210B1ECD}"/>
                </a:ext>
              </a:extLst>
            </p:cNvPr>
            <p:cNvSpPr/>
            <p:nvPr/>
          </p:nvSpPr>
          <p:spPr>
            <a:xfrm>
              <a:off x="9743970" y="5343533"/>
              <a:ext cx="193493" cy="824490"/>
            </a:xfrm>
            <a:custGeom>
              <a:avLst/>
              <a:gdLst>
                <a:gd name="connsiteX0" fmla="*/ 185905 w 193493"/>
                <a:gd name="connsiteY0" fmla="*/ 818168 h 824490"/>
                <a:gd name="connsiteX1" fmla="*/ 192229 w 193493"/>
                <a:gd name="connsiteY1" fmla="*/ 816903 h 824490"/>
                <a:gd name="connsiteX2" fmla="*/ 192229 w 193493"/>
                <a:gd name="connsiteY2" fmla="*/ 816903 h 824490"/>
                <a:gd name="connsiteX3" fmla="*/ 193493 w 193493"/>
                <a:gd name="connsiteY3" fmla="*/ 818168 h 824490"/>
                <a:gd name="connsiteX4" fmla="*/ 11382 w 193493"/>
                <a:gd name="connsiteY4" fmla="*/ 7587 h 824490"/>
                <a:gd name="connsiteX5" fmla="*/ 1265 w 193493"/>
                <a:gd name="connsiteY5" fmla="*/ 1265 h 824490"/>
                <a:gd name="connsiteX6" fmla="*/ 1265 w 193493"/>
                <a:gd name="connsiteY6" fmla="*/ 1265 h 824490"/>
                <a:gd name="connsiteX7" fmla="*/ 0 w 193493"/>
                <a:gd name="connsiteY7" fmla="*/ 0 h 824490"/>
                <a:gd name="connsiteX8" fmla="*/ 0 w 193493"/>
                <a:gd name="connsiteY8" fmla="*/ 0 h 824490"/>
                <a:gd name="connsiteX9" fmla="*/ 0 w 193493"/>
                <a:gd name="connsiteY9" fmla="*/ 0 h 824490"/>
                <a:gd name="connsiteX10" fmla="*/ 0 w 193493"/>
                <a:gd name="connsiteY10" fmla="*/ 0 h 824490"/>
                <a:gd name="connsiteX11" fmla="*/ 0 w 193493"/>
                <a:gd name="connsiteY11" fmla="*/ 0 h 824490"/>
                <a:gd name="connsiteX12" fmla="*/ 0 w 193493"/>
                <a:gd name="connsiteY12" fmla="*/ 0 h 824490"/>
                <a:gd name="connsiteX13" fmla="*/ 185905 w 193493"/>
                <a:gd name="connsiteY13" fmla="*/ 823226 h 824490"/>
                <a:gd name="connsiteX14" fmla="*/ 185905 w 193493"/>
                <a:gd name="connsiteY14" fmla="*/ 824490 h 824490"/>
                <a:gd name="connsiteX15" fmla="*/ 185905 w 193493"/>
                <a:gd name="connsiteY15" fmla="*/ 818168 h 824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93493" h="824490">
                  <a:moveTo>
                    <a:pt x="185905" y="818168"/>
                  </a:moveTo>
                  <a:cubicBezTo>
                    <a:pt x="187170" y="815639"/>
                    <a:pt x="189699" y="815639"/>
                    <a:pt x="192229" y="816903"/>
                  </a:cubicBezTo>
                  <a:cubicBezTo>
                    <a:pt x="192229" y="816903"/>
                    <a:pt x="192229" y="816903"/>
                    <a:pt x="192229" y="816903"/>
                  </a:cubicBezTo>
                  <a:lnTo>
                    <a:pt x="193493" y="818168"/>
                  </a:lnTo>
                  <a:lnTo>
                    <a:pt x="11382" y="7587"/>
                  </a:lnTo>
                  <a:lnTo>
                    <a:pt x="1265" y="1265"/>
                  </a:lnTo>
                  <a:lnTo>
                    <a:pt x="1265" y="1265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lnTo>
                    <a:pt x="185905" y="823226"/>
                  </a:lnTo>
                  <a:cubicBezTo>
                    <a:pt x="185905" y="823226"/>
                    <a:pt x="185905" y="823226"/>
                    <a:pt x="185905" y="824490"/>
                  </a:cubicBezTo>
                  <a:cubicBezTo>
                    <a:pt x="184641" y="821961"/>
                    <a:pt x="184641" y="819432"/>
                    <a:pt x="185905" y="818168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C85F0943-E7DE-451C-A91A-9274AA7C0AFE}"/>
                </a:ext>
              </a:extLst>
            </p:cNvPr>
            <p:cNvSpPr/>
            <p:nvPr/>
          </p:nvSpPr>
          <p:spPr>
            <a:xfrm>
              <a:off x="9745235" y="5342268"/>
              <a:ext cx="442631" cy="288318"/>
            </a:xfrm>
            <a:custGeom>
              <a:avLst/>
              <a:gdLst>
                <a:gd name="connsiteX0" fmla="*/ 437573 w 442631"/>
                <a:gd name="connsiteY0" fmla="*/ 284525 h 288318"/>
                <a:gd name="connsiteX1" fmla="*/ 437573 w 442631"/>
                <a:gd name="connsiteY1" fmla="*/ 284525 h 288318"/>
                <a:gd name="connsiteX2" fmla="*/ 437573 w 442631"/>
                <a:gd name="connsiteY2" fmla="*/ 284525 h 288318"/>
                <a:gd name="connsiteX3" fmla="*/ 437573 w 442631"/>
                <a:gd name="connsiteY3" fmla="*/ 283260 h 288318"/>
                <a:gd name="connsiteX4" fmla="*/ 437573 w 442631"/>
                <a:gd name="connsiteY4" fmla="*/ 281996 h 288318"/>
                <a:gd name="connsiteX5" fmla="*/ 437573 w 442631"/>
                <a:gd name="connsiteY5" fmla="*/ 280732 h 288318"/>
                <a:gd name="connsiteX6" fmla="*/ 438838 w 442631"/>
                <a:gd name="connsiteY6" fmla="*/ 280732 h 288318"/>
                <a:gd name="connsiteX7" fmla="*/ 440102 w 442631"/>
                <a:gd name="connsiteY7" fmla="*/ 280732 h 288318"/>
                <a:gd name="connsiteX8" fmla="*/ 440102 w 442631"/>
                <a:gd name="connsiteY8" fmla="*/ 280732 h 288318"/>
                <a:gd name="connsiteX9" fmla="*/ 442632 w 442631"/>
                <a:gd name="connsiteY9" fmla="*/ 279467 h 288318"/>
                <a:gd name="connsiteX10" fmla="*/ 12647 w 442631"/>
                <a:gd name="connsiteY10" fmla="*/ 0 h 288318"/>
                <a:gd name="connsiteX11" fmla="*/ 5059 w 442631"/>
                <a:gd name="connsiteY11" fmla="*/ 3794 h 288318"/>
                <a:gd name="connsiteX12" fmla="*/ 0 w 442631"/>
                <a:gd name="connsiteY12" fmla="*/ 3794 h 288318"/>
                <a:gd name="connsiteX13" fmla="*/ 0 w 442631"/>
                <a:gd name="connsiteY13" fmla="*/ 3794 h 288318"/>
                <a:gd name="connsiteX14" fmla="*/ 10117 w 442631"/>
                <a:gd name="connsiteY14" fmla="*/ 10116 h 288318"/>
                <a:gd name="connsiteX15" fmla="*/ 437573 w 442631"/>
                <a:gd name="connsiteY15" fmla="*/ 288319 h 288318"/>
                <a:gd name="connsiteX16" fmla="*/ 437573 w 442631"/>
                <a:gd name="connsiteY16" fmla="*/ 284525 h 288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42631" h="288318">
                  <a:moveTo>
                    <a:pt x="437573" y="284525"/>
                  </a:moveTo>
                  <a:lnTo>
                    <a:pt x="437573" y="284525"/>
                  </a:lnTo>
                  <a:cubicBezTo>
                    <a:pt x="437573" y="284525"/>
                    <a:pt x="437573" y="283260"/>
                    <a:pt x="437573" y="284525"/>
                  </a:cubicBezTo>
                  <a:lnTo>
                    <a:pt x="437573" y="283260"/>
                  </a:lnTo>
                  <a:lnTo>
                    <a:pt x="437573" y="281996"/>
                  </a:lnTo>
                  <a:lnTo>
                    <a:pt x="437573" y="280732"/>
                  </a:lnTo>
                  <a:lnTo>
                    <a:pt x="438838" y="280732"/>
                  </a:lnTo>
                  <a:cubicBezTo>
                    <a:pt x="438838" y="280732"/>
                    <a:pt x="438838" y="280732"/>
                    <a:pt x="440102" y="280732"/>
                  </a:cubicBezTo>
                  <a:cubicBezTo>
                    <a:pt x="441367" y="280732"/>
                    <a:pt x="440102" y="280732"/>
                    <a:pt x="440102" y="280732"/>
                  </a:cubicBezTo>
                  <a:lnTo>
                    <a:pt x="442632" y="279467"/>
                  </a:lnTo>
                  <a:lnTo>
                    <a:pt x="12647" y="0"/>
                  </a:lnTo>
                  <a:lnTo>
                    <a:pt x="5059" y="3794"/>
                  </a:lnTo>
                  <a:cubicBezTo>
                    <a:pt x="3794" y="5058"/>
                    <a:pt x="1265" y="5058"/>
                    <a:pt x="0" y="3794"/>
                  </a:cubicBezTo>
                  <a:lnTo>
                    <a:pt x="0" y="3794"/>
                  </a:lnTo>
                  <a:lnTo>
                    <a:pt x="10117" y="10116"/>
                  </a:lnTo>
                  <a:lnTo>
                    <a:pt x="437573" y="288319"/>
                  </a:lnTo>
                  <a:lnTo>
                    <a:pt x="437573" y="284525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81CC6BE-D9AF-4606-B25C-593CA30C6592}"/>
                </a:ext>
              </a:extLst>
            </p:cNvPr>
            <p:cNvSpPr/>
            <p:nvPr/>
          </p:nvSpPr>
          <p:spPr>
            <a:xfrm>
              <a:off x="9742705" y="5339739"/>
              <a:ext cx="948" cy="12645"/>
            </a:xfrm>
            <a:custGeom>
              <a:avLst/>
              <a:gdLst>
                <a:gd name="connsiteX0" fmla="*/ 0 w 948"/>
                <a:gd name="connsiteY0" fmla="*/ 0 h 12645"/>
                <a:gd name="connsiteX1" fmla="*/ 0 w 948"/>
                <a:gd name="connsiteY1" fmla="*/ 0 h 12645"/>
                <a:gd name="connsiteX2" fmla="*/ 0 w 948"/>
                <a:gd name="connsiteY2" fmla="*/ 0 h 12645"/>
                <a:gd name="connsiteX3" fmla="*/ 0 w 948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8" h="12645">
                  <a:moveTo>
                    <a:pt x="0" y="0"/>
                  </a:moveTo>
                  <a:lnTo>
                    <a:pt x="0" y="0"/>
                  </a:lnTo>
                  <a:cubicBezTo>
                    <a:pt x="1265" y="0"/>
                    <a:pt x="1265" y="0"/>
                    <a:pt x="0" y="0"/>
                  </a:cubicBezTo>
                  <a:cubicBezTo>
                    <a:pt x="1265" y="0"/>
                    <a:pt x="1265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6C70DEDB-3B0D-4986-8E3F-E9C1252CACF2}"/>
                </a:ext>
              </a:extLst>
            </p:cNvPr>
            <p:cNvSpPr/>
            <p:nvPr/>
          </p:nvSpPr>
          <p:spPr>
            <a:xfrm>
              <a:off x="9743970" y="5337210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D185D106-0A13-49DF-8756-5818253783CA}"/>
                </a:ext>
              </a:extLst>
            </p:cNvPr>
            <p:cNvSpPr/>
            <p:nvPr/>
          </p:nvSpPr>
          <p:spPr>
            <a:xfrm>
              <a:off x="9743970" y="5341004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C85EB70F-EDDF-4465-BC2F-F433299307DE}"/>
                </a:ext>
              </a:extLst>
            </p:cNvPr>
            <p:cNvSpPr/>
            <p:nvPr/>
          </p:nvSpPr>
          <p:spPr>
            <a:xfrm>
              <a:off x="9745235" y="5335945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2B20A7D1-0404-4777-AB79-A711D279C620}"/>
                </a:ext>
              </a:extLst>
            </p:cNvPr>
            <p:cNvSpPr/>
            <p:nvPr/>
          </p:nvSpPr>
          <p:spPr>
            <a:xfrm>
              <a:off x="10181543" y="5628058"/>
              <a:ext cx="93584" cy="409716"/>
            </a:xfrm>
            <a:custGeom>
              <a:avLst/>
              <a:gdLst>
                <a:gd name="connsiteX0" fmla="*/ 87262 w 93584"/>
                <a:gd name="connsiteY0" fmla="*/ 407187 h 409716"/>
                <a:gd name="connsiteX1" fmla="*/ 87262 w 93584"/>
                <a:gd name="connsiteY1" fmla="*/ 407187 h 409716"/>
                <a:gd name="connsiteX2" fmla="*/ 87262 w 93584"/>
                <a:gd name="connsiteY2" fmla="*/ 405923 h 409716"/>
                <a:gd name="connsiteX3" fmla="*/ 88526 w 93584"/>
                <a:gd name="connsiteY3" fmla="*/ 404658 h 409716"/>
                <a:gd name="connsiteX4" fmla="*/ 88526 w 93584"/>
                <a:gd name="connsiteY4" fmla="*/ 404658 h 409716"/>
                <a:gd name="connsiteX5" fmla="*/ 88526 w 93584"/>
                <a:gd name="connsiteY5" fmla="*/ 404658 h 409716"/>
                <a:gd name="connsiteX6" fmla="*/ 93585 w 93584"/>
                <a:gd name="connsiteY6" fmla="*/ 402129 h 409716"/>
                <a:gd name="connsiteX7" fmla="*/ 8853 w 93584"/>
                <a:gd name="connsiteY7" fmla="*/ 1265 h 409716"/>
                <a:gd name="connsiteX8" fmla="*/ 6323 w 93584"/>
                <a:gd name="connsiteY8" fmla="*/ 2529 h 409716"/>
                <a:gd name="connsiteX9" fmla="*/ 0 w 93584"/>
                <a:gd name="connsiteY9" fmla="*/ 1265 h 409716"/>
                <a:gd name="connsiteX10" fmla="*/ 0 w 93584"/>
                <a:gd name="connsiteY10" fmla="*/ 0 h 409716"/>
                <a:gd name="connsiteX11" fmla="*/ 0 w 93584"/>
                <a:gd name="connsiteY11" fmla="*/ 0 h 409716"/>
                <a:gd name="connsiteX12" fmla="*/ 0 w 93584"/>
                <a:gd name="connsiteY12" fmla="*/ 1265 h 409716"/>
                <a:gd name="connsiteX13" fmla="*/ 85997 w 93584"/>
                <a:gd name="connsiteY13" fmla="*/ 409716 h 409716"/>
                <a:gd name="connsiteX14" fmla="*/ 85997 w 93584"/>
                <a:gd name="connsiteY14" fmla="*/ 409716 h 409716"/>
                <a:gd name="connsiteX15" fmla="*/ 85997 w 93584"/>
                <a:gd name="connsiteY15" fmla="*/ 408451 h 409716"/>
                <a:gd name="connsiteX16" fmla="*/ 87262 w 93584"/>
                <a:gd name="connsiteY16" fmla="*/ 407187 h 409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3584" h="409716">
                  <a:moveTo>
                    <a:pt x="87262" y="407187"/>
                  </a:moveTo>
                  <a:lnTo>
                    <a:pt x="87262" y="407187"/>
                  </a:lnTo>
                  <a:lnTo>
                    <a:pt x="87262" y="405923"/>
                  </a:lnTo>
                  <a:lnTo>
                    <a:pt x="88526" y="404658"/>
                  </a:lnTo>
                  <a:lnTo>
                    <a:pt x="88526" y="404658"/>
                  </a:lnTo>
                  <a:lnTo>
                    <a:pt x="88526" y="404658"/>
                  </a:lnTo>
                  <a:lnTo>
                    <a:pt x="93585" y="402129"/>
                  </a:lnTo>
                  <a:lnTo>
                    <a:pt x="8853" y="1265"/>
                  </a:lnTo>
                  <a:lnTo>
                    <a:pt x="6323" y="2529"/>
                  </a:lnTo>
                  <a:cubicBezTo>
                    <a:pt x="3794" y="3794"/>
                    <a:pt x="1265" y="2529"/>
                    <a:pt x="0" y="1265"/>
                  </a:cubicBezTo>
                  <a:cubicBezTo>
                    <a:pt x="0" y="1265"/>
                    <a:pt x="0" y="0"/>
                    <a:pt x="0" y="0"/>
                  </a:cubicBezTo>
                  <a:lnTo>
                    <a:pt x="0" y="0"/>
                  </a:lnTo>
                  <a:lnTo>
                    <a:pt x="0" y="1265"/>
                  </a:lnTo>
                  <a:lnTo>
                    <a:pt x="85997" y="409716"/>
                  </a:lnTo>
                  <a:lnTo>
                    <a:pt x="85997" y="409716"/>
                  </a:lnTo>
                  <a:cubicBezTo>
                    <a:pt x="85997" y="409716"/>
                    <a:pt x="85997" y="409716"/>
                    <a:pt x="85997" y="408451"/>
                  </a:cubicBezTo>
                  <a:lnTo>
                    <a:pt x="87262" y="407187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CF916049-7D3D-40FD-9D6B-348C5F75B172}"/>
                </a:ext>
              </a:extLst>
            </p:cNvPr>
            <p:cNvSpPr/>
            <p:nvPr/>
          </p:nvSpPr>
          <p:spPr>
            <a:xfrm>
              <a:off x="10361125" y="6471517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44B0776E-C654-45B2-BBD3-EDDF415E2F97}"/>
                </a:ext>
              </a:extLst>
            </p:cNvPr>
            <p:cNvSpPr/>
            <p:nvPr/>
          </p:nvSpPr>
          <p:spPr>
            <a:xfrm>
              <a:off x="10364919" y="6472781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0A833F4B-39B7-43AC-AEBE-06A81FEC7AE7}"/>
                </a:ext>
              </a:extLst>
            </p:cNvPr>
            <p:cNvSpPr/>
            <p:nvPr/>
          </p:nvSpPr>
          <p:spPr>
            <a:xfrm>
              <a:off x="10268804" y="6037774"/>
              <a:ext cx="98643" cy="424890"/>
            </a:xfrm>
            <a:custGeom>
              <a:avLst/>
              <a:gdLst>
                <a:gd name="connsiteX0" fmla="*/ 6323 w 98643"/>
                <a:gd name="connsiteY0" fmla="*/ 2529 h 424890"/>
                <a:gd name="connsiteX1" fmla="*/ 0 w 98643"/>
                <a:gd name="connsiteY1" fmla="*/ 1265 h 424890"/>
                <a:gd name="connsiteX2" fmla="*/ 0 w 98643"/>
                <a:gd name="connsiteY2" fmla="*/ 0 h 424890"/>
                <a:gd name="connsiteX3" fmla="*/ 0 w 98643"/>
                <a:gd name="connsiteY3" fmla="*/ 0 h 424890"/>
                <a:gd name="connsiteX4" fmla="*/ 88526 w 98643"/>
                <a:gd name="connsiteY4" fmla="*/ 419833 h 424890"/>
                <a:gd name="connsiteX5" fmla="*/ 96114 w 98643"/>
                <a:gd name="connsiteY5" fmla="*/ 424891 h 424890"/>
                <a:gd name="connsiteX6" fmla="*/ 98644 w 98643"/>
                <a:gd name="connsiteY6" fmla="*/ 423626 h 424890"/>
                <a:gd name="connsiteX7" fmla="*/ 10117 w 98643"/>
                <a:gd name="connsiteY7" fmla="*/ 1265 h 424890"/>
                <a:gd name="connsiteX8" fmla="*/ 6323 w 98643"/>
                <a:gd name="connsiteY8" fmla="*/ 2529 h 42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643" h="424890">
                  <a:moveTo>
                    <a:pt x="6323" y="2529"/>
                  </a:moveTo>
                  <a:cubicBezTo>
                    <a:pt x="3794" y="3794"/>
                    <a:pt x="1265" y="2529"/>
                    <a:pt x="0" y="1265"/>
                  </a:cubicBezTo>
                  <a:cubicBezTo>
                    <a:pt x="0" y="1265"/>
                    <a:pt x="0" y="0"/>
                    <a:pt x="0" y="0"/>
                  </a:cubicBezTo>
                  <a:lnTo>
                    <a:pt x="0" y="0"/>
                  </a:lnTo>
                  <a:lnTo>
                    <a:pt x="88526" y="419833"/>
                  </a:lnTo>
                  <a:lnTo>
                    <a:pt x="96114" y="424891"/>
                  </a:lnTo>
                  <a:lnTo>
                    <a:pt x="98644" y="423626"/>
                  </a:lnTo>
                  <a:lnTo>
                    <a:pt x="10117" y="1265"/>
                  </a:lnTo>
                  <a:lnTo>
                    <a:pt x="6323" y="2529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778D4242-0672-4B3F-8DE4-2B9F2DE45922}"/>
                </a:ext>
              </a:extLst>
            </p:cNvPr>
            <p:cNvSpPr/>
            <p:nvPr/>
          </p:nvSpPr>
          <p:spPr>
            <a:xfrm>
              <a:off x="11562553" y="4873118"/>
              <a:ext cx="42998" cy="30349"/>
            </a:xfrm>
            <a:custGeom>
              <a:avLst/>
              <a:gdLst>
                <a:gd name="connsiteX0" fmla="*/ 42998 w 42998"/>
                <a:gd name="connsiteY0" fmla="*/ 10117 h 30349"/>
                <a:gd name="connsiteX1" fmla="*/ 41734 w 42998"/>
                <a:gd name="connsiteY1" fmla="*/ 3794 h 30349"/>
                <a:gd name="connsiteX2" fmla="*/ 41734 w 42998"/>
                <a:gd name="connsiteY2" fmla="*/ 0 h 30349"/>
                <a:gd name="connsiteX3" fmla="*/ 0 w 42998"/>
                <a:gd name="connsiteY3" fmla="*/ 21498 h 30349"/>
                <a:gd name="connsiteX4" fmla="*/ 1265 w 42998"/>
                <a:gd name="connsiteY4" fmla="*/ 27820 h 30349"/>
                <a:gd name="connsiteX5" fmla="*/ 1265 w 42998"/>
                <a:gd name="connsiteY5" fmla="*/ 27820 h 30349"/>
                <a:gd name="connsiteX6" fmla="*/ 1265 w 42998"/>
                <a:gd name="connsiteY6" fmla="*/ 29085 h 30349"/>
                <a:gd name="connsiteX7" fmla="*/ 1265 w 42998"/>
                <a:gd name="connsiteY7" fmla="*/ 29085 h 30349"/>
                <a:gd name="connsiteX8" fmla="*/ 2529 w 42998"/>
                <a:gd name="connsiteY8" fmla="*/ 30349 h 30349"/>
                <a:gd name="connsiteX9" fmla="*/ 42998 w 42998"/>
                <a:gd name="connsiteY9" fmla="*/ 10117 h 30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998" h="30349">
                  <a:moveTo>
                    <a:pt x="42998" y="10117"/>
                  </a:moveTo>
                  <a:lnTo>
                    <a:pt x="41734" y="3794"/>
                  </a:lnTo>
                  <a:lnTo>
                    <a:pt x="41734" y="0"/>
                  </a:lnTo>
                  <a:lnTo>
                    <a:pt x="0" y="21498"/>
                  </a:lnTo>
                  <a:lnTo>
                    <a:pt x="1265" y="27820"/>
                  </a:lnTo>
                  <a:lnTo>
                    <a:pt x="1265" y="27820"/>
                  </a:lnTo>
                  <a:cubicBezTo>
                    <a:pt x="1265" y="27820"/>
                    <a:pt x="1265" y="27820"/>
                    <a:pt x="1265" y="29085"/>
                  </a:cubicBezTo>
                  <a:lnTo>
                    <a:pt x="1265" y="29085"/>
                  </a:lnTo>
                  <a:lnTo>
                    <a:pt x="2529" y="30349"/>
                  </a:lnTo>
                  <a:lnTo>
                    <a:pt x="42998" y="10117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5013DE24-5708-4E87-A72D-8933EBF9D6F9}"/>
                </a:ext>
              </a:extLst>
            </p:cNvPr>
            <p:cNvSpPr/>
            <p:nvPr/>
          </p:nvSpPr>
          <p:spPr>
            <a:xfrm>
              <a:off x="11107275" y="4659408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E16A862A-2489-4EDA-871D-0F57F85F0010}"/>
                </a:ext>
              </a:extLst>
            </p:cNvPr>
            <p:cNvSpPr/>
            <p:nvPr/>
          </p:nvSpPr>
          <p:spPr>
            <a:xfrm>
              <a:off x="10978280" y="3931024"/>
              <a:ext cx="128995" cy="724590"/>
            </a:xfrm>
            <a:custGeom>
              <a:avLst/>
              <a:gdLst>
                <a:gd name="connsiteX0" fmla="*/ 1265 w 128995"/>
                <a:gd name="connsiteY0" fmla="*/ 1265 h 724590"/>
                <a:gd name="connsiteX1" fmla="*/ 1265 w 128995"/>
                <a:gd name="connsiteY1" fmla="*/ 1265 h 724590"/>
                <a:gd name="connsiteX2" fmla="*/ 1265 w 128995"/>
                <a:gd name="connsiteY2" fmla="*/ 1265 h 724590"/>
                <a:gd name="connsiteX3" fmla="*/ 0 w 128995"/>
                <a:gd name="connsiteY3" fmla="*/ 2529 h 724590"/>
                <a:gd name="connsiteX4" fmla="*/ 0 w 128995"/>
                <a:gd name="connsiteY4" fmla="*/ 3794 h 724590"/>
                <a:gd name="connsiteX5" fmla="*/ 0 w 128995"/>
                <a:gd name="connsiteY5" fmla="*/ 5058 h 724590"/>
                <a:gd name="connsiteX6" fmla="*/ 0 w 128995"/>
                <a:gd name="connsiteY6" fmla="*/ 5058 h 724590"/>
                <a:gd name="connsiteX7" fmla="*/ 1265 w 128995"/>
                <a:gd name="connsiteY7" fmla="*/ 11381 h 724590"/>
                <a:gd name="connsiteX8" fmla="*/ 120143 w 128995"/>
                <a:gd name="connsiteY8" fmla="*/ 722062 h 724590"/>
                <a:gd name="connsiteX9" fmla="*/ 122672 w 128995"/>
                <a:gd name="connsiteY9" fmla="*/ 720797 h 724590"/>
                <a:gd name="connsiteX10" fmla="*/ 128995 w 128995"/>
                <a:gd name="connsiteY10" fmla="*/ 723326 h 724590"/>
                <a:gd name="connsiteX11" fmla="*/ 128995 w 128995"/>
                <a:gd name="connsiteY11" fmla="*/ 723326 h 724590"/>
                <a:gd name="connsiteX12" fmla="*/ 128995 w 128995"/>
                <a:gd name="connsiteY12" fmla="*/ 724591 h 724590"/>
                <a:gd name="connsiteX13" fmla="*/ 128995 w 128995"/>
                <a:gd name="connsiteY13" fmla="*/ 724591 h 724590"/>
                <a:gd name="connsiteX14" fmla="*/ 10117 w 128995"/>
                <a:gd name="connsiteY14" fmla="*/ 12646 h 724590"/>
                <a:gd name="connsiteX15" fmla="*/ 8853 w 128995"/>
                <a:gd name="connsiteY15" fmla="*/ 3794 h 724590"/>
                <a:gd name="connsiteX16" fmla="*/ 6323 w 128995"/>
                <a:gd name="connsiteY16" fmla="*/ 0 h 724590"/>
                <a:gd name="connsiteX17" fmla="*/ 3794 w 128995"/>
                <a:gd name="connsiteY17" fmla="*/ 0 h 724590"/>
                <a:gd name="connsiteX18" fmla="*/ 2529 w 128995"/>
                <a:gd name="connsiteY18" fmla="*/ 0 h 724590"/>
                <a:gd name="connsiteX19" fmla="*/ 1265 w 128995"/>
                <a:gd name="connsiteY19" fmla="*/ 1265 h 724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8995" h="724590">
                  <a:moveTo>
                    <a:pt x="1265" y="1265"/>
                  </a:moveTo>
                  <a:lnTo>
                    <a:pt x="1265" y="1265"/>
                  </a:lnTo>
                  <a:lnTo>
                    <a:pt x="1265" y="1265"/>
                  </a:lnTo>
                  <a:cubicBezTo>
                    <a:pt x="0" y="2529"/>
                    <a:pt x="0" y="2529"/>
                    <a:pt x="0" y="2529"/>
                  </a:cubicBezTo>
                  <a:cubicBezTo>
                    <a:pt x="0" y="2529"/>
                    <a:pt x="0" y="2529"/>
                    <a:pt x="0" y="3794"/>
                  </a:cubicBezTo>
                  <a:cubicBezTo>
                    <a:pt x="0" y="3794"/>
                    <a:pt x="0" y="5058"/>
                    <a:pt x="0" y="5058"/>
                  </a:cubicBezTo>
                  <a:lnTo>
                    <a:pt x="0" y="5058"/>
                  </a:lnTo>
                  <a:lnTo>
                    <a:pt x="1265" y="11381"/>
                  </a:lnTo>
                  <a:lnTo>
                    <a:pt x="120143" y="722062"/>
                  </a:lnTo>
                  <a:lnTo>
                    <a:pt x="122672" y="720797"/>
                  </a:lnTo>
                  <a:cubicBezTo>
                    <a:pt x="125201" y="719532"/>
                    <a:pt x="127731" y="720797"/>
                    <a:pt x="128995" y="723326"/>
                  </a:cubicBezTo>
                  <a:cubicBezTo>
                    <a:pt x="128995" y="723326"/>
                    <a:pt x="128995" y="723326"/>
                    <a:pt x="128995" y="723326"/>
                  </a:cubicBezTo>
                  <a:cubicBezTo>
                    <a:pt x="128995" y="723326"/>
                    <a:pt x="128995" y="724591"/>
                    <a:pt x="128995" y="724591"/>
                  </a:cubicBezTo>
                  <a:lnTo>
                    <a:pt x="128995" y="724591"/>
                  </a:lnTo>
                  <a:lnTo>
                    <a:pt x="10117" y="12646"/>
                  </a:lnTo>
                  <a:lnTo>
                    <a:pt x="8853" y="3794"/>
                  </a:lnTo>
                  <a:cubicBezTo>
                    <a:pt x="8853" y="2529"/>
                    <a:pt x="7588" y="1265"/>
                    <a:pt x="6323" y="0"/>
                  </a:cubicBezTo>
                  <a:lnTo>
                    <a:pt x="3794" y="0"/>
                  </a:lnTo>
                  <a:lnTo>
                    <a:pt x="2529" y="0"/>
                  </a:lnTo>
                  <a:lnTo>
                    <a:pt x="1265" y="1265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19F6166C-C375-4C8B-8E19-25139C3AEA96}"/>
                </a:ext>
              </a:extLst>
            </p:cNvPr>
            <p:cNvSpPr/>
            <p:nvPr/>
          </p:nvSpPr>
          <p:spPr>
            <a:xfrm>
              <a:off x="11252711" y="5500338"/>
              <a:ext cx="8852" cy="10116"/>
            </a:xfrm>
            <a:custGeom>
              <a:avLst/>
              <a:gdLst>
                <a:gd name="connsiteX0" fmla="*/ 5059 w 8852"/>
                <a:gd name="connsiteY0" fmla="*/ 1265 h 10116"/>
                <a:gd name="connsiteX1" fmla="*/ 0 w 8852"/>
                <a:gd name="connsiteY1" fmla="*/ 5058 h 10116"/>
                <a:gd name="connsiteX2" fmla="*/ 0 w 8852"/>
                <a:gd name="connsiteY2" fmla="*/ 10116 h 10116"/>
                <a:gd name="connsiteX3" fmla="*/ 3794 w 8852"/>
                <a:gd name="connsiteY3" fmla="*/ 7587 h 10116"/>
                <a:gd name="connsiteX4" fmla="*/ 8853 w 8852"/>
                <a:gd name="connsiteY4" fmla="*/ 5058 h 10116"/>
                <a:gd name="connsiteX5" fmla="*/ 7588 w 8852"/>
                <a:gd name="connsiteY5" fmla="*/ 0 h 10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852" h="10116">
                  <a:moveTo>
                    <a:pt x="5059" y="1265"/>
                  </a:moveTo>
                  <a:lnTo>
                    <a:pt x="0" y="5058"/>
                  </a:lnTo>
                  <a:lnTo>
                    <a:pt x="0" y="10116"/>
                  </a:lnTo>
                  <a:lnTo>
                    <a:pt x="3794" y="7587"/>
                  </a:lnTo>
                  <a:lnTo>
                    <a:pt x="8853" y="5058"/>
                  </a:lnTo>
                  <a:lnTo>
                    <a:pt x="7588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DC1C2460-965E-423A-A8E4-5BE02E57F220}"/>
                </a:ext>
              </a:extLst>
            </p:cNvPr>
            <p:cNvSpPr/>
            <p:nvPr/>
          </p:nvSpPr>
          <p:spPr>
            <a:xfrm>
              <a:off x="10735465" y="4652611"/>
              <a:ext cx="373075" cy="193951"/>
            </a:xfrm>
            <a:custGeom>
              <a:avLst/>
              <a:gdLst>
                <a:gd name="connsiteX0" fmla="*/ 365487 w 373075"/>
                <a:gd name="connsiteY0" fmla="*/ 474 h 193951"/>
                <a:gd name="connsiteX1" fmla="*/ 362958 w 373075"/>
                <a:gd name="connsiteY1" fmla="*/ 1739 h 193951"/>
                <a:gd name="connsiteX2" fmla="*/ 5059 w 373075"/>
                <a:gd name="connsiteY2" fmla="*/ 182570 h 193951"/>
                <a:gd name="connsiteX3" fmla="*/ 0 w 373075"/>
                <a:gd name="connsiteY3" fmla="*/ 185100 h 193951"/>
                <a:gd name="connsiteX4" fmla="*/ 6323 w 373075"/>
                <a:gd name="connsiteY4" fmla="*/ 187628 h 193951"/>
                <a:gd name="connsiteX5" fmla="*/ 3794 w 373075"/>
                <a:gd name="connsiteY5" fmla="*/ 193951 h 193951"/>
                <a:gd name="connsiteX6" fmla="*/ 370546 w 373075"/>
                <a:gd name="connsiteY6" fmla="*/ 9326 h 193951"/>
                <a:gd name="connsiteX7" fmla="*/ 370546 w 373075"/>
                <a:gd name="connsiteY7" fmla="*/ 9326 h 193951"/>
                <a:gd name="connsiteX8" fmla="*/ 371811 w 373075"/>
                <a:gd name="connsiteY8" fmla="*/ 9326 h 193951"/>
                <a:gd name="connsiteX9" fmla="*/ 373075 w 373075"/>
                <a:gd name="connsiteY9" fmla="*/ 9326 h 193951"/>
                <a:gd name="connsiteX10" fmla="*/ 373075 w 373075"/>
                <a:gd name="connsiteY10" fmla="*/ 9326 h 193951"/>
                <a:gd name="connsiteX11" fmla="*/ 373075 w 373075"/>
                <a:gd name="connsiteY11" fmla="*/ 8062 h 193951"/>
                <a:gd name="connsiteX12" fmla="*/ 373075 w 373075"/>
                <a:gd name="connsiteY12" fmla="*/ 6797 h 193951"/>
                <a:gd name="connsiteX13" fmla="*/ 373075 w 373075"/>
                <a:gd name="connsiteY13" fmla="*/ 5532 h 193951"/>
                <a:gd name="connsiteX14" fmla="*/ 373075 w 373075"/>
                <a:gd name="connsiteY14" fmla="*/ 4268 h 193951"/>
                <a:gd name="connsiteX15" fmla="*/ 365487 w 373075"/>
                <a:gd name="connsiteY15" fmla="*/ 474 h 193951"/>
                <a:gd name="connsiteX16" fmla="*/ 365487 w 373075"/>
                <a:gd name="connsiteY16" fmla="*/ 474 h 19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73075" h="193951">
                  <a:moveTo>
                    <a:pt x="365487" y="474"/>
                  </a:moveTo>
                  <a:lnTo>
                    <a:pt x="362958" y="1739"/>
                  </a:lnTo>
                  <a:lnTo>
                    <a:pt x="5059" y="182570"/>
                  </a:lnTo>
                  <a:lnTo>
                    <a:pt x="0" y="185100"/>
                  </a:lnTo>
                  <a:cubicBezTo>
                    <a:pt x="2529" y="183835"/>
                    <a:pt x="5059" y="185100"/>
                    <a:pt x="6323" y="187628"/>
                  </a:cubicBezTo>
                  <a:cubicBezTo>
                    <a:pt x="7588" y="190158"/>
                    <a:pt x="6323" y="192687"/>
                    <a:pt x="3794" y="193951"/>
                  </a:cubicBezTo>
                  <a:lnTo>
                    <a:pt x="370546" y="9326"/>
                  </a:lnTo>
                  <a:lnTo>
                    <a:pt x="370546" y="9326"/>
                  </a:lnTo>
                  <a:cubicBezTo>
                    <a:pt x="370546" y="9326"/>
                    <a:pt x="370546" y="9326"/>
                    <a:pt x="371811" y="9326"/>
                  </a:cubicBezTo>
                  <a:cubicBezTo>
                    <a:pt x="371811" y="9326"/>
                    <a:pt x="371811" y="9326"/>
                    <a:pt x="373075" y="9326"/>
                  </a:cubicBezTo>
                  <a:lnTo>
                    <a:pt x="373075" y="9326"/>
                  </a:lnTo>
                  <a:cubicBezTo>
                    <a:pt x="373075" y="9326"/>
                    <a:pt x="373075" y="9326"/>
                    <a:pt x="373075" y="8062"/>
                  </a:cubicBezTo>
                  <a:cubicBezTo>
                    <a:pt x="373075" y="8062"/>
                    <a:pt x="373075" y="8062"/>
                    <a:pt x="373075" y="6797"/>
                  </a:cubicBezTo>
                  <a:cubicBezTo>
                    <a:pt x="373075" y="6797"/>
                    <a:pt x="373075" y="5532"/>
                    <a:pt x="373075" y="5532"/>
                  </a:cubicBezTo>
                  <a:cubicBezTo>
                    <a:pt x="373075" y="5532"/>
                    <a:pt x="373075" y="4268"/>
                    <a:pt x="373075" y="4268"/>
                  </a:cubicBezTo>
                  <a:cubicBezTo>
                    <a:pt x="370546" y="474"/>
                    <a:pt x="368017" y="-790"/>
                    <a:pt x="365487" y="474"/>
                  </a:cubicBezTo>
                  <a:cubicBezTo>
                    <a:pt x="365487" y="474"/>
                    <a:pt x="365487" y="474"/>
                    <a:pt x="365487" y="474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39ECA219-A58D-4895-A4D0-C4F9417C2C68}"/>
                </a:ext>
              </a:extLst>
            </p:cNvPr>
            <p:cNvSpPr/>
            <p:nvPr/>
          </p:nvSpPr>
          <p:spPr>
            <a:xfrm>
              <a:off x="10424358" y="4899674"/>
              <a:ext cx="1130607" cy="601928"/>
            </a:xfrm>
            <a:custGeom>
              <a:avLst/>
              <a:gdLst>
                <a:gd name="connsiteX0" fmla="*/ 768914 w 1130607"/>
                <a:gd name="connsiteY0" fmla="*/ 201064 h 601928"/>
                <a:gd name="connsiteX1" fmla="*/ 1130608 w 1130607"/>
                <a:gd name="connsiteY1" fmla="*/ 10116 h 601928"/>
                <a:gd name="connsiteX2" fmla="*/ 1129343 w 1130607"/>
                <a:gd name="connsiteY2" fmla="*/ 3794 h 601928"/>
                <a:gd name="connsiteX3" fmla="*/ 1129343 w 1130607"/>
                <a:gd name="connsiteY3" fmla="*/ 0 h 601928"/>
                <a:gd name="connsiteX4" fmla="*/ 0 w 1130607"/>
                <a:gd name="connsiteY4" fmla="*/ 594341 h 601928"/>
                <a:gd name="connsiteX5" fmla="*/ 2529 w 1130607"/>
                <a:gd name="connsiteY5" fmla="*/ 595606 h 601928"/>
                <a:gd name="connsiteX6" fmla="*/ 2529 w 1130607"/>
                <a:gd name="connsiteY6" fmla="*/ 595606 h 601928"/>
                <a:gd name="connsiteX7" fmla="*/ 2529 w 1130607"/>
                <a:gd name="connsiteY7" fmla="*/ 595606 h 601928"/>
                <a:gd name="connsiteX8" fmla="*/ 3794 w 1130607"/>
                <a:gd name="connsiteY8" fmla="*/ 596871 h 601928"/>
                <a:gd name="connsiteX9" fmla="*/ 3794 w 1130607"/>
                <a:gd name="connsiteY9" fmla="*/ 596871 h 601928"/>
                <a:gd name="connsiteX10" fmla="*/ 3794 w 1130607"/>
                <a:gd name="connsiteY10" fmla="*/ 596871 h 601928"/>
                <a:gd name="connsiteX11" fmla="*/ 3794 w 1130607"/>
                <a:gd name="connsiteY11" fmla="*/ 598135 h 601928"/>
                <a:gd name="connsiteX12" fmla="*/ 3794 w 1130607"/>
                <a:gd name="connsiteY12" fmla="*/ 599400 h 601928"/>
                <a:gd name="connsiteX13" fmla="*/ 3794 w 1130607"/>
                <a:gd name="connsiteY13" fmla="*/ 600664 h 601928"/>
                <a:gd name="connsiteX14" fmla="*/ 3794 w 1130607"/>
                <a:gd name="connsiteY14" fmla="*/ 601929 h 601928"/>
                <a:gd name="connsiteX15" fmla="*/ 3794 w 1130607"/>
                <a:gd name="connsiteY15" fmla="*/ 601929 h 601928"/>
                <a:gd name="connsiteX16" fmla="*/ 3794 w 1130607"/>
                <a:gd name="connsiteY16" fmla="*/ 601929 h 601928"/>
                <a:gd name="connsiteX17" fmla="*/ 3794 w 1130607"/>
                <a:gd name="connsiteY17" fmla="*/ 601929 h 601928"/>
                <a:gd name="connsiteX18" fmla="*/ 2529 w 1130607"/>
                <a:gd name="connsiteY18" fmla="*/ 601929 h 601928"/>
                <a:gd name="connsiteX19" fmla="*/ 2529 w 1130607"/>
                <a:gd name="connsiteY19" fmla="*/ 601929 h 601928"/>
                <a:gd name="connsiteX20" fmla="*/ 760062 w 1130607"/>
                <a:gd name="connsiteY20" fmla="*/ 202329 h 601928"/>
                <a:gd name="connsiteX21" fmla="*/ 768914 w 1130607"/>
                <a:gd name="connsiteY21" fmla="*/ 201064 h 601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30607" h="601928">
                  <a:moveTo>
                    <a:pt x="768914" y="201064"/>
                  </a:moveTo>
                  <a:lnTo>
                    <a:pt x="1130608" y="10116"/>
                  </a:lnTo>
                  <a:cubicBezTo>
                    <a:pt x="1130608" y="7587"/>
                    <a:pt x="1130608" y="6323"/>
                    <a:pt x="1129343" y="3794"/>
                  </a:cubicBezTo>
                  <a:lnTo>
                    <a:pt x="1129343" y="0"/>
                  </a:lnTo>
                  <a:lnTo>
                    <a:pt x="0" y="594341"/>
                  </a:lnTo>
                  <a:lnTo>
                    <a:pt x="2529" y="595606"/>
                  </a:lnTo>
                  <a:lnTo>
                    <a:pt x="2529" y="595606"/>
                  </a:lnTo>
                  <a:lnTo>
                    <a:pt x="2529" y="595606"/>
                  </a:lnTo>
                  <a:lnTo>
                    <a:pt x="3794" y="596871"/>
                  </a:lnTo>
                  <a:lnTo>
                    <a:pt x="3794" y="596871"/>
                  </a:lnTo>
                  <a:lnTo>
                    <a:pt x="3794" y="596871"/>
                  </a:lnTo>
                  <a:cubicBezTo>
                    <a:pt x="3794" y="596871"/>
                    <a:pt x="3794" y="596871"/>
                    <a:pt x="3794" y="598135"/>
                  </a:cubicBezTo>
                  <a:cubicBezTo>
                    <a:pt x="3794" y="598135"/>
                    <a:pt x="3794" y="598135"/>
                    <a:pt x="3794" y="599400"/>
                  </a:cubicBezTo>
                  <a:cubicBezTo>
                    <a:pt x="3794" y="599400"/>
                    <a:pt x="3794" y="599400"/>
                    <a:pt x="3794" y="600664"/>
                  </a:cubicBezTo>
                  <a:lnTo>
                    <a:pt x="3794" y="601929"/>
                  </a:lnTo>
                  <a:lnTo>
                    <a:pt x="3794" y="601929"/>
                  </a:lnTo>
                  <a:lnTo>
                    <a:pt x="3794" y="601929"/>
                  </a:lnTo>
                  <a:cubicBezTo>
                    <a:pt x="3794" y="601929"/>
                    <a:pt x="3794" y="601929"/>
                    <a:pt x="3794" y="601929"/>
                  </a:cubicBezTo>
                  <a:cubicBezTo>
                    <a:pt x="3794" y="601929"/>
                    <a:pt x="3794" y="601929"/>
                    <a:pt x="2529" y="601929"/>
                  </a:cubicBezTo>
                  <a:lnTo>
                    <a:pt x="2529" y="601929"/>
                  </a:lnTo>
                  <a:lnTo>
                    <a:pt x="760062" y="202329"/>
                  </a:lnTo>
                  <a:lnTo>
                    <a:pt x="768914" y="201064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3E84A8EA-4ABB-43FA-9D2E-69034A465429}"/>
                </a:ext>
              </a:extLst>
            </p:cNvPr>
            <p:cNvSpPr/>
            <p:nvPr/>
          </p:nvSpPr>
          <p:spPr>
            <a:xfrm>
              <a:off x="11252711" y="5477576"/>
              <a:ext cx="29087" cy="24026"/>
            </a:xfrm>
            <a:custGeom>
              <a:avLst/>
              <a:gdLst>
                <a:gd name="connsiteX0" fmla="*/ 6323 w 29087"/>
                <a:gd name="connsiteY0" fmla="*/ 12646 h 24026"/>
                <a:gd name="connsiteX1" fmla="*/ 0 w 29087"/>
                <a:gd name="connsiteY1" fmla="*/ 16439 h 24026"/>
                <a:gd name="connsiteX2" fmla="*/ 6323 w 29087"/>
                <a:gd name="connsiteY2" fmla="*/ 17704 h 24026"/>
                <a:gd name="connsiteX3" fmla="*/ 5059 w 29087"/>
                <a:gd name="connsiteY3" fmla="*/ 24026 h 24026"/>
                <a:gd name="connsiteX4" fmla="*/ 3794 w 29087"/>
                <a:gd name="connsiteY4" fmla="*/ 24026 h 24026"/>
                <a:gd name="connsiteX5" fmla="*/ 6323 w 29087"/>
                <a:gd name="connsiteY5" fmla="*/ 22762 h 24026"/>
                <a:gd name="connsiteX6" fmla="*/ 29087 w 29087"/>
                <a:gd name="connsiteY6" fmla="*/ 10116 h 24026"/>
                <a:gd name="connsiteX7" fmla="*/ 27823 w 29087"/>
                <a:gd name="connsiteY7" fmla="*/ 3794 h 24026"/>
                <a:gd name="connsiteX8" fmla="*/ 27823 w 29087"/>
                <a:gd name="connsiteY8" fmla="*/ 0 h 24026"/>
                <a:gd name="connsiteX9" fmla="*/ 6323 w 29087"/>
                <a:gd name="connsiteY9" fmla="*/ 12646 h 24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087" h="24026">
                  <a:moveTo>
                    <a:pt x="6323" y="12646"/>
                  </a:moveTo>
                  <a:lnTo>
                    <a:pt x="0" y="16439"/>
                  </a:lnTo>
                  <a:cubicBezTo>
                    <a:pt x="2529" y="15174"/>
                    <a:pt x="5059" y="15174"/>
                    <a:pt x="6323" y="17704"/>
                  </a:cubicBezTo>
                  <a:cubicBezTo>
                    <a:pt x="7588" y="20233"/>
                    <a:pt x="7588" y="22762"/>
                    <a:pt x="5059" y="24026"/>
                  </a:cubicBezTo>
                  <a:cubicBezTo>
                    <a:pt x="5059" y="24026"/>
                    <a:pt x="3794" y="24026"/>
                    <a:pt x="3794" y="24026"/>
                  </a:cubicBezTo>
                  <a:lnTo>
                    <a:pt x="6323" y="22762"/>
                  </a:lnTo>
                  <a:lnTo>
                    <a:pt x="29087" y="10116"/>
                  </a:lnTo>
                  <a:lnTo>
                    <a:pt x="27823" y="3794"/>
                  </a:lnTo>
                  <a:lnTo>
                    <a:pt x="27823" y="0"/>
                  </a:lnTo>
                  <a:lnTo>
                    <a:pt x="6323" y="12646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94442DB2-247B-4F6C-AE2E-E989FC7FE81A}"/>
                </a:ext>
              </a:extLst>
            </p:cNvPr>
            <p:cNvSpPr/>
            <p:nvPr/>
          </p:nvSpPr>
          <p:spPr>
            <a:xfrm>
              <a:off x="10720289" y="4832156"/>
              <a:ext cx="21995" cy="18199"/>
            </a:xfrm>
            <a:custGeom>
              <a:avLst/>
              <a:gdLst>
                <a:gd name="connsiteX0" fmla="*/ 3794 w 21995"/>
                <a:gd name="connsiteY0" fmla="*/ 10612 h 18199"/>
                <a:gd name="connsiteX1" fmla="*/ 0 w 21995"/>
                <a:gd name="connsiteY1" fmla="*/ 11877 h 18199"/>
                <a:gd name="connsiteX2" fmla="*/ 2529 w 21995"/>
                <a:gd name="connsiteY2" fmla="*/ 13142 h 18199"/>
                <a:gd name="connsiteX3" fmla="*/ 2529 w 21995"/>
                <a:gd name="connsiteY3" fmla="*/ 13142 h 18199"/>
                <a:gd name="connsiteX4" fmla="*/ 3794 w 21995"/>
                <a:gd name="connsiteY4" fmla="*/ 13142 h 18199"/>
                <a:gd name="connsiteX5" fmla="*/ 3794 w 21995"/>
                <a:gd name="connsiteY5" fmla="*/ 13142 h 18199"/>
                <a:gd name="connsiteX6" fmla="*/ 3794 w 21995"/>
                <a:gd name="connsiteY6" fmla="*/ 13142 h 18199"/>
                <a:gd name="connsiteX7" fmla="*/ 3794 w 21995"/>
                <a:gd name="connsiteY7" fmla="*/ 13142 h 18199"/>
                <a:gd name="connsiteX8" fmla="*/ 3794 w 21995"/>
                <a:gd name="connsiteY8" fmla="*/ 14406 h 18199"/>
                <a:gd name="connsiteX9" fmla="*/ 3794 w 21995"/>
                <a:gd name="connsiteY9" fmla="*/ 15671 h 18199"/>
                <a:gd name="connsiteX10" fmla="*/ 3794 w 21995"/>
                <a:gd name="connsiteY10" fmla="*/ 16935 h 18199"/>
                <a:gd name="connsiteX11" fmla="*/ 3794 w 21995"/>
                <a:gd name="connsiteY11" fmla="*/ 18200 h 18199"/>
                <a:gd name="connsiteX12" fmla="*/ 3794 w 21995"/>
                <a:gd name="connsiteY12" fmla="*/ 18200 h 18199"/>
                <a:gd name="connsiteX13" fmla="*/ 3794 w 21995"/>
                <a:gd name="connsiteY13" fmla="*/ 18200 h 18199"/>
                <a:gd name="connsiteX14" fmla="*/ 3794 w 21995"/>
                <a:gd name="connsiteY14" fmla="*/ 18200 h 18199"/>
                <a:gd name="connsiteX15" fmla="*/ 2529 w 21995"/>
                <a:gd name="connsiteY15" fmla="*/ 18200 h 18199"/>
                <a:gd name="connsiteX16" fmla="*/ 2529 w 21995"/>
                <a:gd name="connsiteY16" fmla="*/ 18200 h 18199"/>
                <a:gd name="connsiteX17" fmla="*/ 18970 w 21995"/>
                <a:gd name="connsiteY17" fmla="*/ 9348 h 18199"/>
                <a:gd name="connsiteX18" fmla="*/ 21499 w 21995"/>
                <a:gd name="connsiteY18" fmla="*/ 3025 h 18199"/>
                <a:gd name="connsiteX19" fmla="*/ 15176 w 21995"/>
                <a:gd name="connsiteY19" fmla="*/ 496 h 18199"/>
                <a:gd name="connsiteX20" fmla="*/ 15176 w 21995"/>
                <a:gd name="connsiteY20" fmla="*/ 496 h 18199"/>
                <a:gd name="connsiteX21" fmla="*/ 11382 w 21995"/>
                <a:gd name="connsiteY21" fmla="*/ 1760 h 18199"/>
                <a:gd name="connsiteX22" fmla="*/ 3794 w 21995"/>
                <a:gd name="connsiteY22" fmla="*/ 10612 h 18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1995" h="18199">
                  <a:moveTo>
                    <a:pt x="3794" y="10612"/>
                  </a:moveTo>
                  <a:lnTo>
                    <a:pt x="0" y="11877"/>
                  </a:lnTo>
                  <a:lnTo>
                    <a:pt x="2529" y="13142"/>
                  </a:lnTo>
                  <a:lnTo>
                    <a:pt x="2529" y="13142"/>
                  </a:lnTo>
                  <a:lnTo>
                    <a:pt x="3794" y="13142"/>
                  </a:lnTo>
                  <a:cubicBezTo>
                    <a:pt x="3794" y="13142"/>
                    <a:pt x="3794" y="13142"/>
                    <a:pt x="3794" y="13142"/>
                  </a:cubicBezTo>
                  <a:lnTo>
                    <a:pt x="3794" y="13142"/>
                  </a:lnTo>
                  <a:lnTo>
                    <a:pt x="3794" y="13142"/>
                  </a:lnTo>
                  <a:cubicBezTo>
                    <a:pt x="3794" y="13142"/>
                    <a:pt x="3794" y="13142"/>
                    <a:pt x="3794" y="14406"/>
                  </a:cubicBezTo>
                  <a:cubicBezTo>
                    <a:pt x="3794" y="14406"/>
                    <a:pt x="3794" y="14406"/>
                    <a:pt x="3794" y="15671"/>
                  </a:cubicBezTo>
                  <a:cubicBezTo>
                    <a:pt x="3794" y="15671"/>
                    <a:pt x="3794" y="15671"/>
                    <a:pt x="3794" y="16935"/>
                  </a:cubicBezTo>
                  <a:cubicBezTo>
                    <a:pt x="3794" y="16935"/>
                    <a:pt x="3794" y="16935"/>
                    <a:pt x="3794" y="18200"/>
                  </a:cubicBezTo>
                  <a:lnTo>
                    <a:pt x="3794" y="18200"/>
                  </a:lnTo>
                  <a:lnTo>
                    <a:pt x="3794" y="18200"/>
                  </a:lnTo>
                  <a:lnTo>
                    <a:pt x="3794" y="18200"/>
                  </a:lnTo>
                  <a:lnTo>
                    <a:pt x="2529" y="18200"/>
                  </a:lnTo>
                  <a:lnTo>
                    <a:pt x="2529" y="18200"/>
                  </a:lnTo>
                  <a:lnTo>
                    <a:pt x="18970" y="9348"/>
                  </a:lnTo>
                  <a:cubicBezTo>
                    <a:pt x="21499" y="8083"/>
                    <a:pt x="22764" y="5554"/>
                    <a:pt x="21499" y="3025"/>
                  </a:cubicBezTo>
                  <a:cubicBezTo>
                    <a:pt x="20235" y="496"/>
                    <a:pt x="17705" y="-769"/>
                    <a:pt x="15176" y="496"/>
                  </a:cubicBezTo>
                  <a:lnTo>
                    <a:pt x="15176" y="496"/>
                  </a:lnTo>
                  <a:lnTo>
                    <a:pt x="11382" y="1760"/>
                  </a:lnTo>
                  <a:lnTo>
                    <a:pt x="3794" y="10612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86F05C06-D1EB-472E-8E57-F01633E528B3}"/>
                </a:ext>
              </a:extLst>
            </p:cNvPr>
            <p:cNvSpPr/>
            <p:nvPr/>
          </p:nvSpPr>
          <p:spPr>
            <a:xfrm>
              <a:off x="10271334" y="5493184"/>
              <a:ext cx="988965" cy="547949"/>
            </a:xfrm>
            <a:custGeom>
              <a:avLst/>
              <a:gdLst>
                <a:gd name="connsiteX0" fmla="*/ 988965 w 988965"/>
                <a:gd name="connsiteY0" fmla="*/ 2095 h 547949"/>
                <a:gd name="connsiteX1" fmla="*/ 982642 w 988965"/>
                <a:gd name="connsiteY1" fmla="*/ 831 h 547949"/>
                <a:gd name="connsiteX2" fmla="*/ 980113 w 988965"/>
                <a:gd name="connsiteY2" fmla="*/ 2095 h 547949"/>
                <a:gd name="connsiteX3" fmla="*/ 6323 w 988965"/>
                <a:gd name="connsiteY3" fmla="*/ 535738 h 547949"/>
                <a:gd name="connsiteX4" fmla="*/ 1265 w 988965"/>
                <a:gd name="connsiteY4" fmla="*/ 538267 h 547949"/>
                <a:gd name="connsiteX5" fmla="*/ 1265 w 988965"/>
                <a:gd name="connsiteY5" fmla="*/ 538267 h 547949"/>
                <a:gd name="connsiteX6" fmla="*/ 1265 w 988965"/>
                <a:gd name="connsiteY6" fmla="*/ 538267 h 547949"/>
                <a:gd name="connsiteX7" fmla="*/ 0 w 988965"/>
                <a:gd name="connsiteY7" fmla="*/ 539532 h 547949"/>
                <a:gd name="connsiteX8" fmla="*/ 0 w 988965"/>
                <a:gd name="connsiteY8" fmla="*/ 540796 h 547949"/>
                <a:gd name="connsiteX9" fmla="*/ 0 w 988965"/>
                <a:gd name="connsiteY9" fmla="*/ 542061 h 547949"/>
                <a:gd name="connsiteX10" fmla="*/ 0 w 988965"/>
                <a:gd name="connsiteY10" fmla="*/ 543325 h 547949"/>
                <a:gd name="connsiteX11" fmla="*/ 0 w 988965"/>
                <a:gd name="connsiteY11" fmla="*/ 544590 h 547949"/>
                <a:gd name="connsiteX12" fmla="*/ 0 w 988965"/>
                <a:gd name="connsiteY12" fmla="*/ 545854 h 547949"/>
                <a:gd name="connsiteX13" fmla="*/ 6323 w 988965"/>
                <a:gd name="connsiteY13" fmla="*/ 547119 h 547949"/>
                <a:gd name="connsiteX14" fmla="*/ 8853 w 988965"/>
                <a:gd name="connsiteY14" fmla="*/ 545854 h 547949"/>
                <a:gd name="connsiteX15" fmla="*/ 982642 w 988965"/>
                <a:gd name="connsiteY15" fmla="*/ 12212 h 547949"/>
                <a:gd name="connsiteX16" fmla="*/ 988965 w 988965"/>
                <a:gd name="connsiteY16" fmla="*/ 8418 h 547949"/>
                <a:gd name="connsiteX17" fmla="*/ 988965 w 988965"/>
                <a:gd name="connsiteY17" fmla="*/ 2095 h 547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88965" h="547949">
                  <a:moveTo>
                    <a:pt x="988965" y="2095"/>
                  </a:moveTo>
                  <a:cubicBezTo>
                    <a:pt x="987701" y="-434"/>
                    <a:pt x="985172" y="-434"/>
                    <a:pt x="982642" y="831"/>
                  </a:cubicBezTo>
                  <a:lnTo>
                    <a:pt x="980113" y="2095"/>
                  </a:lnTo>
                  <a:lnTo>
                    <a:pt x="6323" y="535738"/>
                  </a:lnTo>
                  <a:lnTo>
                    <a:pt x="1265" y="538267"/>
                  </a:lnTo>
                  <a:lnTo>
                    <a:pt x="1265" y="538267"/>
                  </a:lnTo>
                  <a:lnTo>
                    <a:pt x="1265" y="538267"/>
                  </a:lnTo>
                  <a:lnTo>
                    <a:pt x="0" y="539532"/>
                  </a:lnTo>
                  <a:lnTo>
                    <a:pt x="0" y="540796"/>
                  </a:lnTo>
                  <a:lnTo>
                    <a:pt x="0" y="542061"/>
                  </a:lnTo>
                  <a:lnTo>
                    <a:pt x="0" y="543325"/>
                  </a:lnTo>
                  <a:cubicBezTo>
                    <a:pt x="0" y="543325"/>
                    <a:pt x="0" y="543325"/>
                    <a:pt x="0" y="544590"/>
                  </a:cubicBezTo>
                  <a:cubicBezTo>
                    <a:pt x="0" y="544590"/>
                    <a:pt x="0" y="545854"/>
                    <a:pt x="0" y="545854"/>
                  </a:cubicBezTo>
                  <a:cubicBezTo>
                    <a:pt x="1265" y="548383"/>
                    <a:pt x="3794" y="548383"/>
                    <a:pt x="6323" y="547119"/>
                  </a:cubicBezTo>
                  <a:lnTo>
                    <a:pt x="8853" y="545854"/>
                  </a:lnTo>
                  <a:lnTo>
                    <a:pt x="982642" y="12212"/>
                  </a:lnTo>
                  <a:lnTo>
                    <a:pt x="988965" y="8418"/>
                  </a:lnTo>
                  <a:cubicBezTo>
                    <a:pt x="988965" y="7153"/>
                    <a:pt x="988965" y="4624"/>
                    <a:pt x="988965" y="2095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80A45588-668D-475A-B79F-E113595B8144}"/>
                </a:ext>
              </a:extLst>
            </p:cNvPr>
            <p:cNvSpPr/>
            <p:nvPr/>
          </p:nvSpPr>
          <p:spPr>
            <a:xfrm>
              <a:off x="10724083" y="4847827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2F84E816-E5F5-4E04-AAB0-7B84484B9863}"/>
                </a:ext>
              </a:extLst>
            </p:cNvPr>
            <p:cNvSpPr/>
            <p:nvPr/>
          </p:nvSpPr>
          <p:spPr>
            <a:xfrm>
              <a:off x="10498973" y="4850356"/>
              <a:ext cx="222580" cy="115074"/>
            </a:xfrm>
            <a:custGeom>
              <a:avLst/>
              <a:gdLst>
                <a:gd name="connsiteX0" fmla="*/ 218787 w 222580"/>
                <a:gd name="connsiteY0" fmla="*/ 3794 h 115074"/>
                <a:gd name="connsiteX1" fmla="*/ 211198 w 222580"/>
                <a:gd name="connsiteY1" fmla="*/ 0 h 115074"/>
                <a:gd name="connsiteX2" fmla="*/ 2529 w 222580"/>
                <a:gd name="connsiteY2" fmla="*/ 104958 h 115074"/>
                <a:gd name="connsiteX3" fmla="*/ 0 w 222580"/>
                <a:gd name="connsiteY3" fmla="*/ 106223 h 115074"/>
                <a:gd name="connsiteX4" fmla="*/ 6323 w 222580"/>
                <a:gd name="connsiteY4" fmla="*/ 108752 h 115074"/>
                <a:gd name="connsiteX5" fmla="*/ 3794 w 222580"/>
                <a:gd name="connsiteY5" fmla="*/ 115075 h 115074"/>
                <a:gd name="connsiteX6" fmla="*/ 3794 w 222580"/>
                <a:gd name="connsiteY6" fmla="*/ 115075 h 115074"/>
                <a:gd name="connsiteX7" fmla="*/ 222581 w 222580"/>
                <a:gd name="connsiteY7" fmla="*/ 5058 h 115074"/>
                <a:gd name="connsiteX8" fmla="*/ 222581 w 222580"/>
                <a:gd name="connsiteY8" fmla="*/ 5058 h 115074"/>
                <a:gd name="connsiteX9" fmla="*/ 218787 w 222580"/>
                <a:gd name="connsiteY9" fmla="*/ 3794 h 115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580" h="115074">
                  <a:moveTo>
                    <a:pt x="218787" y="3794"/>
                  </a:moveTo>
                  <a:lnTo>
                    <a:pt x="211198" y="0"/>
                  </a:lnTo>
                  <a:lnTo>
                    <a:pt x="2529" y="104958"/>
                  </a:lnTo>
                  <a:lnTo>
                    <a:pt x="0" y="106223"/>
                  </a:lnTo>
                  <a:cubicBezTo>
                    <a:pt x="2529" y="104958"/>
                    <a:pt x="5059" y="106223"/>
                    <a:pt x="6323" y="108752"/>
                  </a:cubicBezTo>
                  <a:cubicBezTo>
                    <a:pt x="7588" y="111281"/>
                    <a:pt x="6323" y="113810"/>
                    <a:pt x="3794" y="115075"/>
                  </a:cubicBezTo>
                  <a:cubicBezTo>
                    <a:pt x="3794" y="115075"/>
                    <a:pt x="3794" y="115075"/>
                    <a:pt x="3794" y="115075"/>
                  </a:cubicBezTo>
                  <a:lnTo>
                    <a:pt x="222581" y="5058"/>
                  </a:lnTo>
                  <a:lnTo>
                    <a:pt x="222581" y="5058"/>
                  </a:lnTo>
                  <a:cubicBezTo>
                    <a:pt x="221316" y="5058"/>
                    <a:pt x="220051" y="5058"/>
                    <a:pt x="218787" y="3794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297EB405-2AF7-4BDD-8B33-381393928162}"/>
                </a:ext>
              </a:extLst>
            </p:cNvPr>
            <p:cNvSpPr/>
            <p:nvPr/>
          </p:nvSpPr>
          <p:spPr>
            <a:xfrm>
              <a:off x="8714535" y="5480105"/>
              <a:ext cx="1922285" cy="1375837"/>
            </a:xfrm>
            <a:custGeom>
              <a:avLst/>
              <a:gdLst>
                <a:gd name="connsiteX0" fmla="*/ 0 w 1922285"/>
                <a:gd name="connsiteY0" fmla="*/ 2529 h 1375837"/>
                <a:gd name="connsiteX1" fmla="*/ 0 w 1922285"/>
                <a:gd name="connsiteY1" fmla="*/ 2529 h 1375837"/>
                <a:gd name="connsiteX2" fmla="*/ 1905845 w 1922285"/>
                <a:gd name="connsiteY2" fmla="*/ 1375837 h 1375837"/>
                <a:gd name="connsiteX3" fmla="*/ 1922286 w 1922285"/>
                <a:gd name="connsiteY3" fmla="*/ 1375837 h 1375837"/>
                <a:gd name="connsiteX4" fmla="*/ 11382 w 1922285"/>
                <a:gd name="connsiteY4" fmla="*/ 0 h 1375837"/>
                <a:gd name="connsiteX5" fmla="*/ 5059 w 1922285"/>
                <a:gd name="connsiteY5" fmla="*/ 3794 h 1375837"/>
                <a:gd name="connsiteX6" fmla="*/ 0 w 1922285"/>
                <a:gd name="connsiteY6" fmla="*/ 2529 h 1375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22285" h="1375837">
                  <a:moveTo>
                    <a:pt x="0" y="2529"/>
                  </a:moveTo>
                  <a:lnTo>
                    <a:pt x="0" y="2529"/>
                  </a:lnTo>
                  <a:lnTo>
                    <a:pt x="1905845" y="1375837"/>
                  </a:lnTo>
                  <a:lnTo>
                    <a:pt x="1922286" y="1375837"/>
                  </a:lnTo>
                  <a:lnTo>
                    <a:pt x="11382" y="0"/>
                  </a:lnTo>
                  <a:lnTo>
                    <a:pt x="5059" y="3794"/>
                  </a:lnTo>
                  <a:cubicBezTo>
                    <a:pt x="2529" y="3794"/>
                    <a:pt x="1265" y="3794"/>
                    <a:pt x="0" y="2529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4658B5A4-FCA1-4599-8834-59AA8E9B6D6F}"/>
                </a:ext>
              </a:extLst>
            </p:cNvPr>
            <p:cNvSpPr/>
            <p:nvPr/>
          </p:nvSpPr>
          <p:spPr>
            <a:xfrm>
              <a:off x="8713271" y="5476311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B52F9744-12A6-4F6C-83BA-1C34001F6A36}"/>
                </a:ext>
              </a:extLst>
            </p:cNvPr>
            <p:cNvSpPr/>
            <p:nvPr/>
          </p:nvSpPr>
          <p:spPr>
            <a:xfrm>
              <a:off x="8713271" y="4960372"/>
              <a:ext cx="1055992" cy="520681"/>
            </a:xfrm>
            <a:custGeom>
              <a:avLst/>
              <a:gdLst>
                <a:gd name="connsiteX0" fmla="*/ 1054728 w 1055992"/>
                <a:gd name="connsiteY0" fmla="*/ 0 h 520681"/>
                <a:gd name="connsiteX1" fmla="*/ 1265 w 1055992"/>
                <a:gd name="connsiteY1" fmla="*/ 513410 h 520681"/>
                <a:gd name="connsiteX2" fmla="*/ 1265 w 1055992"/>
                <a:gd name="connsiteY2" fmla="*/ 513410 h 520681"/>
                <a:gd name="connsiteX3" fmla="*/ 1265 w 1055992"/>
                <a:gd name="connsiteY3" fmla="*/ 513410 h 520681"/>
                <a:gd name="connsiteX4" fmla="*/ 0 w 1055992"/>
                <a:gd name="connsiteY4" fmla="*/ 513410 h 520681"/>
                <a:gd name="connsiteX5" fmla="*/ 0 w 1055992"/>
                <a:gd name="connsiteY5" fmla="*/ 513410 h 520681"/>
                <a:gd name="connsiteX6" fmla="*/ 0 w 1055992"/>
                <a:gd name="connsiteY6" fmla="*/ 514674 h 520681"/>
                <a:gd name="connsiteX7" fmla="*/ 0 w 1055992"/>
                <a:gd name="connsiteY7" fmla="*/ 515939 h 520681"/>
                <a:gd name="connsiteX8" fmla="*/ 0 w 1055992"/>
                <a:gd name="connsiteY8" fmla="*/ 517204 h 520681"/>
                <a:gd name="connsiteX9" fmla="*/ 0 w 1055992"/>
                <a:gd name="connsiteY9" fmla="*/ 518468 h 520681"/>
                <a:gd name="connsiteX10" fmla="*/ 0 w 1055992"/>
                <a:gd name="connsiteY10" fmla="*/ 518468 h 520681"/>
                <a:gd name="connsiteX11" fmla="*/ 0 w 1055992"/>
                <a:gd name="connsiteY11" fmla="*/ 518468 h 520681"/>
                <a:gd name="connsiteX12" fmla="*/ 0 w 1055992"/>
                <a:gd name="connsiteY12" fmla="*/ 519733 h 520681"/>
                <a:gd name="connsiteX13" fmla="*/ 0 w 1055992"/>
                <a:gd name="connsiteY13" fmla="*/ 519733 h 520681"/>
                <a:gd name="connsiteX14" fmla="*/ 5059 w 1055992"/>
                <a:gd name="connsiteY14" fmla="*/ 519733 h 520681"/>
                <a:gd name="connsiteX15" fmla="*/ 11382 w 1055992"/>
                <a:gd name="connsiteY15" fmla="*/ 515939 h 520681"/>
                <a:gd name="connsiteX16" fmla="*/ 1055993 w 1055992"/>
                <a:gd name="connsiteY16" fmla="*/ 6323 h 520681"/>
                <a:gd name="connsiteX17" fmla="*/ 1054728 w 1055992"/>
                <a:gd name="connsiteY17" fmla="*/ 0 h 520681"/>
                <a:gd name="connsiteX18" fmla="*/ 1054728 w 1055992"/>
                <a:gd name="connsiteY18" fmla="*/ 0 h 520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055992" h="520681">
                  <a:moveTo>
                    <a:pt x="1054728" y="0"/>
                  </a:moveTo>
                  <a:lnTo>
                    <a:pt x="1265" y="513410"/>
                  </a:lnTo>
                  <a:lnTo>
                    <a:pt x="1265" y="513410"/>
                  </a:lnTo>
                  <a:lnTo>
                    <a:pt x="1265" y="513410"/>
                  </a:lnTo>
                  <a:lnTo>
                    <a:pt x="0" y="513410"/>
                  </a:lnTo>
                  <a:lnTo>
                    <a:pt x="0" y="513410"/>
                  </a:lnTo>
                  <a:cubicBezTo>
                    <a:pt x="0" y="513410"/>
                    <a:pt x="0" y="513410"/>
                    <a:pt x="0" y="514674"/>
                  </a:cubicBezTo>
                  <a:cubicBezTo>
                    <a:pt x="0" y="514674"/>
                    <a:pt x="0" y="514674"/>
                    <a:pt x="0" y="515939"/>
                  </a:cubicBezTo>
                  <a:cubicBezTo>
                    <a:pt x="0" y="515939"/>
                    <a:pt x="0" y="515939"/>
                    <a:pt x="0" y="517204"/>
                  </a:cubicBezTo>
                  <a:cubicBezTo>
                    <a:pt x="0" y="517204"/>
                    <a:pt x="0" y="518468"/>
                    <a:pt x="0" y="518468"/>
                  </a:cubicBezTo>
                  <a:lnTo>
                    <a:pt x="0" y="518468"/>
                  </a:lnTo>
                  <a:lnTo>
                    <a:pt x="0" y="518468"/>
                  </a:lnTo>
                  <a:lnTo>
                    <a:pt x="0" y="519733"/>
                  </a:lnTo>
                  <a:lnTo>
                    <a:pt x="0" y="519733"/>
                  </a:lnTo>
                  <a:cubicBezTo>
                    <a:pt x="1265" y="520997"/>
                    <a:pt x="3794" y="520997"/>
                    <a:pt x="5059" y="519733"/>
                  </a:cubicBezTo>
                  <a:lnTo>
                    <a:pt x="11382" y="515939"/>
                  </a:lnTo>
                  <a:lnTo>
                    <a:pt x="1055993" y="6323"/>
                  </a:lnTo>
                  <a:lnTo>
                    <a:pt x="1054728" y="0"/>
                  </a:lnTo>
                  <a:lnTo>
                    <a:pt x="1054728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6BBC9079-ACC2-4AB2-AEB5-FDE4B0A83D73}"/>
                </a:ext>
              </a:extLst>
            </p:cNvPr>
            <p:cNvSpPr/>
            <p:nvPr/>
          </p:nvSpPr>
          <p:spPr>
            <a:xfrm>
              <a:off x="12017831" y="5525629"/>
              <a:ext cx="80938" cy="46788"/>
            </a:xfrm>
            <a:custGeom>
              <a:avLst/>
              <a:gdLst>
                <a:gd name="connsiteX0" fmla="*/ 69556 w 80938"/>
                <a:gd name="connsiteY0" fmla="*/ 0 h 46788"/>
                <a:gd name="connsiteX1" fmla="*/ 0 w 80938"/>
                <a:gd name="connsiteY1" fmla="*/ 40466 h 46788"/>
                <a:gd name="connsiteX2" fmla="*/ 2529 w 80938"/>
                <a:gd name="connsiteY2" fmla="*/ 41730 h 46788"/>
                <a:gd name="connsiteX3" fmla="*/ 2529 w 80938"/>
                <a:gd name="connsiteY3" fmla="*/ 41730 h 46788"/>
                <a:gd name="connsiteX4" fmla="*/ 3794 w 80938"/>
                <a:gd name="connsiteY4" fmla="*/ 41730 h 46788"/>
                <a:gd name="connsiteX5" fmla="*/ 3794 w 80938"/>
                <a:gd name="connsiteY5" fmla="*/ 41730 h 46788"/>
                <a:gd name="connsiteX6" fmla="*/ 3794 w 80938"/>
                <a:gd name="connsiteY6" fmla="*/ 42995 h 46788"/>
                <a:gd name="connsiteX7" fmla="*/ 3794 w 80938"/>
                <a:gd name="connsiteY7" fmla="*/ 44259 h 46788"/>
                <a:gd name="connsiteX8" fmla="*/ 3794 w 80938"/>
                <a:gd name="connsiteY8" fmla="*/ 44259 h 46788"/>
                <a:gd name="connsiteX9" fmla="*/ 3794 w 80938"/>
                <a:gd name="connsiteY9" fmla="*/ 46789 h 46788"/>
                <a:gd name="connsiteX10" fmla="*/ 80939 w 80938"/>
                <a:gd name="connsiteY10" fmla="*/ 2529 h 46788"/>
                <a:gd name="connsiteX11" fmla="*/ 80939 w 80938"/>
                <a:gd name="connsiteY11" fmla="*/ 2529 h 46788"/>
                <a:gd name="connsiteX12" fmla="*/ 79674 w 80938"/>
                <a:gd name="connsiteY12" fmla="*/ 2529 h 46788"/>
                <a:gd name="connsiteX13" fmla="*/ 78409 w 80938"/>
                <a:gd name="connsiteY13" fmla="*/ 2529 h 46788"/>
                <a:gd name="connsiteX14" fmla="*/ 77144 w 80938"/>
                <a:gd name="connsiteY14" fmla="*/ 2529 h 46788"/>
                <a:gd name="connsiteX15" fmla="*/ 77144 w 80938"/>
                <a:gd name="connsiteY15" fmla="*/ 2529 h 46788"/>
                <a:gd name="connsiteX16" fmla="*/ 69556 w 80938"/>
                <a:gd name="connsiteY16" fmla="*/ 0 h 4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0938" h="46788">
                  <a:moveTo>
                    <a:pt x="69556" y="0"/>
                  </a:moveTo>
                  <a:lnTo>
                    <a:pt x="0" y="40466"/>
                  </a:lnTo>
                  <a:lnTo>
                    <a:pt x="2529" y="41730"/>
                  </a:lnTo>
                  <a:lnTo>
                    <a:pt x="2529" y="41730"/>
                  </a:lnTo>
                  <a:lnTo>
                    <a:pt x="3794" y="41730"/>
                  </a:lnTo>
                  <a:lnTo>
                    <a:pt x="3794" y="41730"/>
                  </a:lnTo>
                  <a:lnTo>
                    <a:pt x="3794" y="42995"/>
                  </a:lnTo>
                  <a:lnTo>
                    <a:pt x="3794" y="44259"/>
                  </a:lnTo>
                  <a:lnTo>
                    <a:pt x="3794" y="44259"/>
                  </a:lnTo>
                  <a:lnTo>
                    <a:pt x="3794" y="46789"/>
                  </a:lnTo>
                  <a:lnTo>
                    <a:pt x="80939" y="2529"/>
                  </a:lnTo>
                  <a:lnTo>
                    <a:pt x="80939" y="2529"/>
                  </a:lnTo>
                  <a:lnTo>
                    <a:pt x="79674" y="2529"/>
                  </a:lnTo>
                  <a:lnTo>
                    <a:pt x="78409" y="2529"/>
                  </a:lnTo>
                  <a:lnTo>
                    <a:pt x="77144" y="2529"/>
                  </a:lnTo>
                  <a:lnTo>
                    <a:pt x="77144" y="2529"/>
                  </a:lnTo>
                  <a:lnTo>
                    <a:pt x="69556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F2E8EF1D-5FB6-4BD8-A236-105E82184168}"/>
                </a:ext>
              </a:extLst>
            </p:cNvPr>
            <p:cNvSpPr/>
            <p:nvPr/>
          </p:nvSpPr>
          <p:spPr>
            <a:xfrm>
              <a:off x="12068418" y="5961901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B2EF745E-CA55-4B89-9E54-1D04CE1A745B}"/>
                </a:ext>
              </a:extLst>
            </p:cNvPr>
            <p:cNvSpPr/>
            <p:nvPr/>
          </p:nvSpPr>
          <p:spPr>
            <a:xfrm>
              <a:off x="12070947" y="5961901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B5C67F27-5A12-4CFB-9980-4CC027813238}"/>
                </a:ext>
              </a:extLst>
            </p:cNvPr>
            <p:cNvSpPr/>
            <p:nvPr/>
          </p:nvSpPr>
          <p:spPr>
            <a:xfrm>
              <a:off x="12072212" y="5961901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B9FD6053-8124-400A-8B4F-4203A057F1D3}"/>
                </a:ext>
              </a:extLst>
            </p:cNvPr>
            <p:cNvSpPr/>
            <p:nvPr/>
          </p:nvSpPr>
          <p:spPr>
            <a:xfrm>
              <a:off x="12012773" y="5569888"/>
              <a:ext cx="61968" cy="381896"/>
            </a:xfrm>
            <a:custGeom>
              <a:avLst/>
              <a:gdLst>
                <a:gd name="connsiteX0" fmla="*/ 8853 w 61968"/>
                <a:gd name="connsiteY0" fmla="*/ 0 h 381896"/>
                <a:gd name="connsiteX1" fmla="*/ 5059 w 61968"/>
                <a:gd name="connsiteY1" fmla="*/ 5058 h 381896"/>
                <a:gd name="connsiteX2" fmla="*/ 2529 w 61968"/>
                <a:gd name="connsiteY2" fmla="*/ 5058 h 381896"/>
                <a:gd name="connsiteX3" fmla="*/ 0 w 61968"/>
                <a:gd name="connsiteY3" fmla="*/ 3794 h 381896"/>
                <a:gd name="connsiteX4" fmla="*/ 51851 w 61968"/>
                <a:gd name="connsiteY4" fmla="*/ 378102 h 381896"/>
                <a:gd name="connsiteX5" fmla="*/ 58175 w 61968"/>
                <a:gd name="connsiteY5" fmla="*/ 381896 h 381896"/>
                <a:gd name="connsiteX6" fmla="*/ 61968 w 61968"/>
                <a:gd name="connsiteY6" fmla="*/ 379367 h 381896"/>
                <a:gd name="connsiteX7" fmla="*/ 10118 w 61968"/>
                <a:gd name="connsiteY7" fmla="*/ 3794 h 381896"/>
                <a:gd name="connsiteX8" fmla="*/ 8853 w 61968"/>
                <a:gd name="connsiteY8" fmla="*/ 0 h 381896"/>
                <a:gd name="connsiteX9" fmla="*/ 8853 w 61968"/>
                <a:gd name="connsiteY9" fmla="*/ 0 h 381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1968" h="381896">
                  <a:moveTo>
                    <a:pt x="8853" y="0"/>
                  </a:moveTo>
                  <a:cubicBezTo>
                    <a:pt x="8853" y="2529"/>
                    <a:pt x="7588" y="5058"/>
                    <a:pt x="5059" y="5058"/>
                  </a:cubicBezTo>
                  <a:cubicBezTo>
                    <a:pt x="3794" y="5058"/>
                    <a:pt x="2529" y="5058"/>
                    <a:pt x="2529" y="5058"/>
                  </a:cubicBezTo>
                  <a:lnTo>
                    <a:pt x="0" y="3794"/>
                  </a:lnTo>
                  <a:lnTo>
                    <a:pt x="51851" y="378102"/>
                  </a:lnTo>
                  <a:lnTo>
                    <a:pt x="58175" y="381896"/>
                  </a:lnTo>
                  <a:lnTo>
                    <a:pt x="61968" y="379367"/>
                  </a:lnTo>
                  <a:lnTo>
                    <a:pt x="10118" y="3794"/>
                  </a:lnTo>
                  <a:lnTo>
                    <a:pt x="8853" y="0"/>
                  </a:lnTo>
                  <a:lnTo>
                    <a:pt x="8853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DB29627B-0673-49C2-BE95-1D15DD02A329}"/>
                </a:ext>
              </a:extLst>
            </p:cNvPr>
            <p:cNvSpPr/>
            <p:nvPr/>
          </p:nvSpPr>
          <p:spPr>
            <a:xfrm>
              <a:off x="11228683" y="5119706"/>
              <a:ext cx="362958" cy="216239"/>
            </a:xfrm>
            <a:custGeom>
              <a:avLst/>
              <a:gdLst>
                <a:gd name="connsiteX0" fmla="*/ 359164 w 362958"/>
                <a:gd name="connsiteY0" fmla="*/ 212446 h 216239"/>
                <a:gd name="connsiteX1" fmla="*/ 359164 w 362958"/>
                <a:gd name="connsiteY1" fmla="*/ 212446 h 216239"/>
                <a:gd name="connsiteX2" fmla="*/ 359164 w 362958"/>
                <a:gd name="connsiteY2" fmla="*/ 212446 h 216239"/>
                <a:gd name="connsiteX3" fmla="*/ 359164 w 362958"/>
                <a:gd name="connsiteY3" fmla="*/ 212446 h 216239"/>
                <a:gd name="connsiteX4" fmla="*/ 359164 w 362958"/>
                <a:gd name="connsiteY4" fmla="*/ 209916 h 216239"/>
                <a:gd name="connsiteX5" fmla="*/ 359164 w 362958"/>
                <a:gd name="connsiteY5" fmla="*/ 208652 h 216239"/>
                <a:gd name="connsiteX6" fmla="*/ 359164 w 362958"/>
                <a:gd name="connsiteY6" fmla="*/ 208652 h 216239"/>
                <a:gd name="connsiteX7" fmla="*/ 359164 w 362958"/>
                <a:gd name="connsiteY7" fmla="*/ 208652 h 216239"/>
                <a:gd name="connsiteX8" fmla="*/ 360429 w 362958"/>
                <a:gd name="connsiteY8" fmla="*/ 208652 h 216239"/>
                <a:gd name="connsiteX9" fmla="*/ 360429 w 362958"/>
                <a:gd name="connsiteY9" fmla="*/ 208652 h 216239"/>
                <a:gd name="connsiteX10" fmla="*/ 360429 w 362958"/>
                <a:gd name="connsiteY10" fmla="*/ 208652 h 216239"/>
                <a:gd name="connsiteX11" fmla="*/ 362958 w 362958"/>
                <a:gd name="connsiteY11" fmla="*/ 207387 h 216239"/>
                <a:gd name="connsiteX12" fmla="*/ 1265 w 362958"/>
                <a:gd name="connsiteY12" fmla="*/ 0 h 216239"/>
                <a:gd name="connsiteX13" fmla="*/ 0 w 362958"/>
                <a:gd name="connsiteY13" fmla="*/ 0 h 216239"/>
                <a:gd name="connsiteX14" fmla="*/ 2529 w 362958"/>
                <a:gd name="connsiteY14" fmla="*/ 3794 h 216239"/>
                <a:gd name="connsiteX15" fmla="*/ 3794 w 362958"/>
                <a:gd name="connsiteY15" fmla="*/ 13910 h 216239"/>
                <a:gd name="connsiteX16" fmla="*/ 359164 w 362958"/>
                <a:gd name="connsiteY16" fmla="*/ 216239 h 216239"/>
                <a:gd name="connsiteX17" fmla="*/ 359164 w 362958"/>
                <a:gd name="connsiteY17" fmla="*/ 216239 h 216239"/>
                <a:gd name="connsiteX18" fmla="*/ 359164 w 362958"/>
                <a:gd name="connsiteY18" fmla="*/ 216239 h 216239"/>
                <a:gd name="connsiteX19" fmla="*/ 359164 w 362958"/>
                <a:gd name="connsiteY19" fmla="*/ 212446 h 216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62958" h="216239">
                  <a:moveTo>
                    <a:pt x="359164" y="212446"/>
                  </a:moveTo>
                  <a:lnTo>
                    <a:pt x="359164" y="212446"/>
                  </a:lnTo>
                  <a:lnTo>
                    <a:pt x="359164" y="212446"/>
                  </a:lnTo>
                  <a:cubicBezTo>
                    <a:pt x="359164" y="212446"/>
                    <a:pt x="359164" y="212446"/>
                    <a:pt x="359164" y="212446"/>
                  </a:cubicBezTo>
                  <a:lnTo>
                    <a:pt x="359164" y="209916"/>
                  </a:lnTo>
                  <a:lnTo>
                    <a:pt x="359164" y="208652"/>
                  </a:lnTo>
                  <a:lnTo>
                    <a:pt x="359164" y="208652"/>
                  </a:lnTo>
                  <a:lnTo>
                    <a:pt x="359164" y="208652"/>
                  </a:lnTo>
                  <a:lnTo>
                    <a:pt x="360429" y="208652"/>
                  </a:lnTo>
                  <a:lnTo>
                    <a:pt x="360429" y="208652"/>
                  </a:lnTo>
                  <a:lnTo>
                    <a:pt x="360429" y="208652"/>
                  </a:lnTo>
                  <a:lnTo>
                    <a:pt x="362958" y="207387"/>
                  </a:lnTo>
                  <a:lnTo>
                    <a:pt x="1265" y="0"/>
                  </a:lnTo>
                  <a:lnTo>
                    <a:pt x="0" y="0"/>
                  </a:lnTo>
                  <a:cubicBezTo>
                    <a:pt x="1265" y="0"/>
                    <a:pt x="2529" y="2529"/>
                    <a:pt x="2529" y="3794"/>
                  </a:cubicBezTo>
                  <a:lnTo>
                    <a:pt x="3794" y="13910"/>
                  </a:lnTo>
                  <a:lnTo>
                    <a:pt x="359164" y="216239"/>
                  </a:lnTo>
                  <a:lnTo>
                    <a:pt x="359164" y="216239"/>
                  </a:lnTo>
                  <a:lnTo>
                    <a:pt x="359164" y="216239"/>
                  </a:lnTo>
                  <a:lnTo>
                    <a:pt x="359164" y="212446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4D756B47-CACD-4380-9550-9D968429188B}"/>
                </a:ext>
              </a:extLst>
            </p:cNvPr>
            <p:cNvSpPr/>
            <p:nvPr/>
          </p:nvSpPr>
          <p:spPr>
            <a:xfrm>
              <a:off x="11222359" y="5120971"/>
              <a:ext cx="948" cy="12645"/>
            </a:xfrm>
            <a:custGeom>
              <a:avLst/>
              <a:gdLst>
                <a:gd name="connsiteX0" fmla="*/ 0 w 948"/>
                <a:gd name="connsiteY0" fmla="*/ 0 h 12645"/>
                <a:gd name="connsiteX1" fmla="*/ 0 w 948"/>
                <a:gd name="connsiteY1" fmla="*/ 0 h 12645"/>
                <a:gd name="connsiteX2" fmla="*/ 0 w 948"/>
                <a:gd name="connsiteY2" fmla="*/ 0 h 12645"/>
                <a:gd name="connsiteX3" fmla="*/ 0 w 948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8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1265" y="0"/>
                    <a:pt x="1265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5BC669A9-10A2-4BCB-922B-1DA27769B8D8}"/>
                </a:ext>
              </a:extLst>
            </p:cNvPr>
            <p:cNvSpPr/>
            <p:nvPr/>
          </p:nvSpPr>
          <p:spPr>
            <a:xfrm>
              <a:off x="11601758" y="4927494"/>
              <a:ext cx="11382" cy="8851"/>
            </a:xfrm>
            <a:custGeom>
              <a:avLst/>
              <a:gdLst>
                <a:gd name="connsiteX0" fmla="*/ 0 w 11382"/>
                <a:gd name="connsiteY0" fmla="*/ 2529 h 8851"/>
                <a:gd name="connsiteX1" fmla="*/ 11382 w 11382"/>
                <a:gd name="connsiteY1" fmla="*/ 8852 h 8851"/>
                <a:gd name="connsiteX2" fmla="*/ 10117 w 11382"/>
                <a:gd name="connsiteY2" fmla="*/ 2529 h 8851"/>
                <a:gd name="connsiteX3" fmla="*/ 6323 w 11382"/>
                <a:gd name="connsiteY3" fmla="*/ 0 h 8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382" h="8851">
                  <a:moveTo>
                    <a:pt x="0" y="2529"/>
                  </a:moveTo>
                  <a:lnTo>
                    <a:pt x="11382" y="8852"/>
                  </a:lnTo>
                  <a:lnTo>
                    <a:pt x="10117" y="2529"/>
                  </a:lnTo>
                  <a:lnTo>
                    <a:pt x="6323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6FF7AAA5-4842-4188-900F-F9F3AB3CD5BF}"/>
                </a:ext>
              </a:extLst>
            </p:cNvPr>
            <p:cNvSpPr/>
            <p:nvPr/>
          </p:nvSpPr>
          <p:spPr>
            <a:xfrm>
              <a:off x="11589111" y="5330887"/>
              <a:ext cx="433076" cy="244582"/>
            </a:xfrm>
            <a:custGeom>
              <a:avLst/>
              <a:gdLst>
                <a:gd name="connsiteX0" fmla="*/ 5059 w 433076"/>
                <a:gd name="connsiteY0" fmla="*/ 2529 h 244582"/>
                <a:gd name="connsiteX1" fmla="*/ 0 w 433076"/>
                <a:gd name="connsiteY1" fmla="*/ 2529 h 244582"/>
                <a:gd name="connsiteX2" fmla="*/ 0 w 433076"/>
                <a:gd name="connsiteY2" fmla="*/ 2529 h 244582"/>
                <a:gd name="connsiteX3" fmla="*/ 423662 w 433076"/>
                <a:gd name="connsiteY3" fmla="*/ 242795 h 244582"/>
                <a:gd name="connsiteX4" fmla="*/ 426191 w 433076"/>
                <a:gd name="connsiteY4" fmla="*/ 244059 h 244582"/>
                <a:gd name="connsiteX5" fmla="*/ 432514 w 433076"/>
                <a:gd name="connsiteY5" fmla="*/ 242795 h 244582"/>
                <a:gd name="connsiteX6" fmla="*/ 432514 w 433076"/>
                <a:gd name="connsiteY6" fmla="*/ 240266 h 244582"/>
                <a:gd name="connsiteX7" fmla="*/ 432514 w 433076"/>
                <a:gd name="connsiteY7" fmla="*/ 239001 h 244582"/>
                <a:gd name="connsiteX8" fmla="*/ 432514 w 433076"/>
                <a:gd name="connsiteY8" fmla="*/ 237736 h 244582"/>
                <a:gd name="connsiteX9" fmla="*/ 432514 w 433076"/>
                <a:gd name="connsiteY9" fmla="*/ 237736 h 244582"/>
                <a:gd name="connsiteX10" fmla="*/ 431250 w 433076"/>
                <a:gd name="connsiteY10" fmla="*/ 237736 h 244582"/>
                <a:gd name="connsiteX11" fmla="*/ 431250 w 433076"/>
                <a:gd name="connsiteY11" fmla="*/ 237736 h 244582"/>
                <a:gd name="connsiteX12" fmla="*/ 428720 w 433076"/>
                <a:gd name="connsiteY12" fmla="*/ 236472 h 244582"/>
                <a:gd name="connsiteX13" fmla="*/ 11382 w 433076"/>
                <a:gd name="connsiteY13" fmla="*/ 0 h 244582"/>
                <a:gd name="connsiteX14" fmla="*/ 5059 w 433076"/>
                <a:gd name="connsiteY14" fmla="*/ 2529 h 244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3076" h="244582">
                  <a:moveTo>
                    <a:pt x="5059" y="2529"/>
                  </a:moveTo>
                  <a:cubicBezTo>
                    <a:pt x="3794" y="3794"/>
                    <a:pt x="1265" y="3794"/>
                    <a:pt x="0" y="2529"/>
                  </a:cubicBezTo>
                  <a:lnTo>
                    <a:pt x="0" y="2529"/>
                  </a:lnTo>
                  <a:lnTo>
                    <a:pt x="423662" y="242795"/>
                  </a:lnTo>
                  <a:lnTo>
                    <a:pt x="426191" y="244059"/>
                  </a:lnTo>
                  <a:cubicBezTo>
                    <a:pt x="428720" y="245324"/>
                    <a:pt x="431250" y="244059"/>
                    <a:pt x="432514" y="242795"/>
                  </a:cubicBezTo>
                  <a:cubicBezTo>
                    <a:pt x="432514" y="241530"/>
                    <a:pt x="433779" y="240266"/>
                    <a:pt x="432514" y="240266"/>
                  </a:cubicBezTo>
                  <a:lnTo>
                    <a:pt x="432514" y="239001"/>
                  </a:lnTo>
                  <a:lnTo>
                    <a:pt x="432514" y="237736"/>
                  </a:lnTo>
                  <a:lnTo>
                    <a:pt x="432514" y="237736"/>
                  </a:lnTo>
                  <a:lnTo>
                    <a:pt x="431250" y="237736"/>
                  </a:lnTo>
                  <a:lnTo>
                    <a:pt x="431250" y="237736"/>
                  </a:lnTo>
                  <a:lnTo>
                    <a:pt x="428720" y="236472"/>
                  </a:lnTo>
                  <a:lnTo>
                    <a:pt x="11382" y="0"/>
                  </a:lnTo>
                  <a:lnTo>
                    <a:pt x="5059" y="2529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550C6AD8-3CB7-40D4-AB53-617373E203E3}"/>
                </a:ext>
              </a:extLst>
            </p:cNvPr>
            <p:cNvSpPr/>
            <p:nvPr/>
          </p:nvSpPr>
          <p:spPr>
            <a:xfrm>
              <a:off x="11586898" y="5327796"/>
              <a:ext cx="948" cy="562"/>
            </a:xfrm>
            <a:custGeom>
              <a:avLst/>
              <a:gdLst>
                <a:gd name="connsiteX0" fmla="*/ 949 w 948"/>
                <a:gd name="connsiteY0" fmla="*/ 562 h 562"/>
                <a:gd name="connsiteX1" fmla="*/ 949 w 948"/>
                <a:gd name="connsiteY1" fmla="*/ 562 h 562"/>
                <a:gd name="connsiteX2" fmla="*/ 949 w 948"/>
                <a:gd name="connsiteY2" fmla="*/ 562 h 562"/>
                <a:gd name="connsiteX3" fmla="*/ 949 w 948"/>
                <a:gd name="connsiteY3" fmla="*/ 562 h 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8" h="562">
                  <a:moveTo>
                    <a:pt x="949" y="562"/>
                  </a:moveTo>
                  <a:cubicBezTo>
                    <a:pt x="949" y="562"/>
                    <a:pt x="949" y="562"/>
                    <a:pt x="949" y="562"/>
                  </a:cubicBezTo>
                  <a:lnTo>
                    <a:pt x="949" y="562"/>
                  </a:lnTo>
                  <a:cubicBezTo>
                    <a:pt x="-316" y="-703"/>
                    <a:pt x="-316" y="562"/>
                    <a:pt x="949" y="562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F4C7BD07-C5BB-43CF-92CC-EE1835242D65}"/>
                </a:ext>
              </a:extLst>
            </p:cNvPr>
            <p:cNvSpPr/>
            <p:nvPr/>
          </p:nvSpPr>
          <p:spPr>
            <a:xfrm>
              <a:off x="10181543" y="5500338"/>
              <a:ext cx="245344" cy="129508"/>
            </a:xfrm>
            <a:custGeom>
              <a:avLst/>
              <a:gdLst>
                <a:gd name="connsiteX0" fmla="*/ 7588 w 245344"/>
                <a:gd name="connsiteY0" fmla="*/ 128985 h 129508"/>
                <a:gd name="connsiteX1" fmla="*/ 10117 w 245344"/>
                <a:gd name="connsiteY1" fmla="*/ 127720 h 129508"/>
                <a:gd name="connsiteX2" fmla="*/ 245344 w 245344"/>
                <a:gd name="connsiteY2" fmla="*/ 3794 h 129508"/>
                <a:gd name="connsiteX3" fmla="*/ 245344 w 245344"/>
                <a:gd name="connsiteY3" fmla="*/ 3794 h 129508"/>
                <a:gd name="connsiteX4" fmla="*/ 240286 w 245344"/>
                <a:gd name="connsiteY4" fmla="*/ 3794 h 129508"/>
                <a:gd name="connsiteX5" fmla="*/ 233962 w 245344"/>
                <a:gd name="connsiteY5" fmla="*/ 0 h 129508"/>
                <a:gd name="connsiteX6" fmla="*/ 5059 w 245344"/>
                <a:gd name="connsiteY6" fmla="*/ 120133 h 129508"/>
                <a:gd name="connsiteX7" fmla="*/ 2529 w 245344"/>
                <a:gd name="connsiteY7" fmla="*/ 121397 h 129508"/>
                <a:gd name="connsiteX8" fmla="*/ 2529 w 245344"/>
                <a:gd name="connsiteY8" fmla="*/ 121397 h 129508"/>
                <a:gd name="connsiteX9" fmla="*/ 1265 w 245344"/>
                <a:gd name="connsiteY9" fmla="*/ 121397 h 129508"/>
                <a:gd name="connsiteX10" fmla="*/ 0 w 245344"/>
                <a:gd name="connsiteY10" fmla="*/ 121397 h 129508"/>
                <a:gd name="connsiteX11" fmla="*/ 0 w 245344"/>
                <a:gd name="connsiteY11" fmla="*/ 122662 h 129508"/>
                <a:gd name="connsiteX12" fmla="*/ 0 w 245344"/>
                <a:gd name="connsiteY12" fmla="*/ 123926 h 129508"/>
                <a:gd name="connsiteX13" fmla="*/ 0 w 245344"/>
                <a:gd name="connsiteY13" fmla="*/ 125191 h 129508"/>
                <a:gd name="connsiteX14" fmla="*/ 0 w 245344"/>
                <a:gd name="connsiteY14" fmla="*/ 126456 h 129508"/>
                <a:gd name="connsiteX15" fmla="*/ 0 w 245344"/>
                <a:gd name="connsiteY15" fmla="*/ 127720 h 129508"/>
                <a:gd name="connsiteX16" fmla="*/ 7588 w 245344"/>
                <a:gd name="connsiteY16" fmla="*/ 128985 h 129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5344" h="129508">
                  <a:moveTo>
                    <a:pt x="7588" y="128985"/>
                  </a:moveTo>
                  <a:lnTo>
                    <a:pt x="10117" y="127720"/>
                  </a:lnTo>
                  <a:lnTo>
                    <a:pt x="245344" y="3794"/>
                  </a:lnTo>
                  <a:lnTo>
                    <a:pt x="245344" y="3794"/>
                  </a:lnTo>
                  <a:cubicBezTo>
                    <a:pt x="244080" y="5058"/>
                    <a:pt x="241550" y="5058"/>
                    <a:pt x="240286" y="3794"/>
                  </a:cubicBezTo>
                  <a:lnTo>
                    <a:pt x="233962" y="0"/>
                  </a:lnTo>
                  <a:lnTo>
                    <a:pt x="5059" y="120133"/>
                  </a:lnTo>
                  <a:lnTo>
                    <a:pt x="2529" y="121397"/>
                  </a:lnTo>
                  <a:lnTo>
                    <a:pt x="2529" y="121397"/>
                  </a:lnTo>
                  <a:cubicBezTo>
                    <a:pt x="2529" y="121397"/>
                    <a:pt x="2529" y="121397"/>
                    <a:pt x="1265" y="121397"/>
                  </a:cubicBezTo>
                  <a:lnTo>
                    <a:pt x="0" y="121397"/>
                  </a:lnTo>
                  <a:lnTo>
                    <a:pt x="0" y="122662"/>
                  </a:lnTo>
                  <a:lnTo>
                    <a:pt x="0" y="123926"/>
                  </a:lnTo>
                  <a:lnTo>
                    <a:pt x="0" y="125191"/>
                  </a:lnTo>
                  <a:cubicBezTo>
                    <a:pt x="0" y="125191"/>
                    <a:pt x="0" y="126456"/>
                    <a:pt x="0" y="126456"/>
                  </a:cubicBezTo>
                  <a:cubicBezTo>
                    <a:pt x="0" y="126456"/>
                    <a:pt x="0" y="127720"/>
                    <a:pt x="0" y="127720"/>
                  </a:cubicBezTo>
                  <a:cubicBezTo>
                    <a:pt x="2529" y="128985"/>
                    <a:pt x="5059" y="130249"/>
                    <a:pt x="7588" y="128985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62E42A45-4E6D-4E38-BE7A-E87E6E259C4C}"/>
                </a:ext>
              </a:extLst>
            </p:cNvPr>
            <p:cNvSpPr/>
            <p:nvPr/>
          </p:nvSpPr>
          <p:spPr>
            <a:xfrm>
              <a:off x="10428152" y="5497808"/>
              <a:ext cx="948" cy="12645"/>
            </a:xfrm>
            <a:custGeom>
              <a:avLst/>
              <a:gdLst>
                <a:gd name="connsiteX0" fmla="*/ 0 w 948"/>
                <a:gd name="connsiteY0" fmla="*/ 0 h 12645"/>
                <a:gd name="connsiteX1" fmla="*/ 0 w 948"/>
                <a:gd name="connsiteY1" fmla="*/ 0 h 12645"/>
                <a:gd name="connsiteX2" fmla="*/ 0 w 948"/>
                <a:gd name="connsiteY2" fmla="*/ 0 h 12645"/>
                <a:gd name="connsiteX3" fmla="*/ 0 w 948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8" h="12645">
                  <a:moveTo>
                    <a:pt x="0" y="0"/>
                  </a:moveTo>
                  <a:cubicBezTo>
                    <a:pt x="1265" y="0"/>
                    <a:pt x="1265" y="0"/>
                    <a:pt x="0" y="0"/>
                  </a:cubicBez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8C300EE9-F97E-4E6D-9431-8D3C178CE3FE}"/>
                </a:ext>
              </a:extLst>
            </p:cNvPr>
            <p:cNvSpPr/>
            <p:nvPr/>
          </p:nvSpPr>
          <p:spPr>
            <a:xfrm>
              <a:off x="9981726" y="5220871"/>
              <a:ext cx="446425" cy="284525"/>
            </a:xfrm>
            <a:custGeom>
              <a:avLst/>
              <a:gdLst>
                <a:gd name="connsiteX0" fmla="*/ 445161 w 446425"/>
                <a:gd name="connsiteY0" fmla="*/ 283260 h 284525"/>
                <a:gd name="connsiteX1" fmla="*/ 445161 w 446425"/>
                <a:gd name="connsiteY1" fmla="*/ 283260 h 284525"/>
                <a:gd name="connsiteX2" fmla="*/ 445161 w 446425"/>
                <a:gd name="connsiteY2" fmla="*/ 283260 h 284525"/>
                <a:gd name="connsiteX3" fmla="*/ 445161 w 446425"/>
                <a:gd name="connsiteY3" fmla="*/ 283260 h 284525"/>
                <a:gd name="connsiteX4" fmla="*/ 445161 w 446425"/>
                <a:gd name="connsiteY4" fmla="*/ 283260 h 284525"/>
                <a:gd name="connsiteX5" fmla="*/ 446426 w 446425"/>
                <a:gd name="connsiteY5" fmla="*/ 280732 h 284525"/>
                <a:gd name="connsiteX6" fmla="*/ 446426 w 446425"/>
                <a:gd name="connsiteY6" fmla="*/ 279467 h 284525"/>
                <a:gd name="connsiteX7" fmla="*/ 446426 w 446425"/>
                <a:gd name="connsiteY7" fmla="*/ 278202 h 284525"/>
                <a:gd name="connsiteX8" fmla="*/ 446426 w 446425"/>
                <a:gd name="connsiteY8" fmla="*/ 276938 h 284525"/>
                <a:gd name="connsiteX9" fmla="*/ 446426 w 446425"/>
                <a:gd name="connsiteY9" fmla="*/ 275673 h 284525"/>
                <a:gd name="connsiteX10" fmla="*/ 445161 w 446425"/>
                <a:gd name="connsiteY10" fmla="*/ 274409 h 284525"/>
                <a:gd name="connsiteX11" fmla="*/ 445161 w 446425"/>
                <a:gd name="connsiteY11" fmla="*/ 274409 h 284525"/>
                <a:gd name="connsiteX12" fmla="*/ 445161 w 446425"/>
                <a:gd name="connsiteY12" fmla="*/ 274409 h 284525"/>
                <a:gd name="connsiteX13" fmla="*/ 442632 w 446425"/>
                <a:gd name="connsiteY13" fmla="*/ 273144 h 284525"/>
                <a:gd name="connsiteX14" fmla="*/ 10117 w 446425"/>
                <a:gd name="connsiteY14" fmla="*/ 0 h 284525"/>
                <a:gd name="connsiteX15" fmla="*/ 2529 w 446425"/>
                <a:gd name="connsiteY15" fmla="*/ 3794 h 284525"/>
                <a:gd name="connsiteX16" fmla="*/ 0 w 446425"/>
                <a:gd name="connsiteY16" fmla="*/ 5058 h 284525"/>
                <a:gd name="connsiteX17" fmla="*/ 433779 w 446425"/>
                <a:gd name="connsiteY17" fmla="*/ 278202 h 284525"/>
                <a:gd name="connsiteX18" fmla="*/ 440102 w 446425"/>
                <a:gd name="connsiteY18" fmla="*/ 281996 h 284525"/>
                <a:gd name="connsiteX19" fmla="*/ 445161 w 446425"/>
                <a:gd name="connsiteY19" fmla="*/ 283260 h 28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46425" h="284525">
                  <a:moveTo>
                    <a:pt x="445161" y="283260"/>
                  </a:moveTo>
                  <a:cubicBezTo>
                    <a:pt x="445161" y="283260"/>
                    <a:pt x="445161" y="283260"/>
                    <a:pt x="445161" y="283260"/>
                  </a:cubicBezTo>
                  <a:cubicBezTo>
                    <a:pt x="446426" y="281996"/>
                    <a:pt x="446426" y="281996"/>
                    <a:pt x="445161" y="283260"/>
                  </a:cubicBezTo>
                  <a:lnTo>
                    <a:pt x="445161" y="283260"/>
                  </a:lnTo>
                  <a:lnTo>
                    <a:pt x="445161" y="283260"/>
                  </a:lnTo>
                  <a:lnTo>
                    <a:pt x="446426" y="280732"/>
                  </a:lnTo>
                  <a:cubicBezTo>
                    <a:pt x="446426" y="280732"/>
                    <a:pt x="446426" y="280732"/>
                    <a:pt x="446426" y="279467"/>
                  </a:cubicBezTo>
                  <a:cubicBezTo>
                    <a:pt x="446426" y="279467"/>
                    <a:pt x="446426" y="279467"/>
                    <a:pt x="446426" y="278202"/>
                  </a:cubicBezTo>
                  <a:cubicBezTo>
                    <a:pt x="446426" y="278202"/>
                    <a:pt x="446426" y="278202"/>
                    <a:pt x="446426" y="276938"/>
                  </a:cubicBezTo>
                  <a:cubicBezTo>
                    <a:pt x="446426" y="276938"/>
                    <a:pt x="446426" y="276938"/>
                    <a:pt x="446426" y="275673"/>
                  </a:cubicBezTo>
                  <a:lnTo>
                    <a:pt x="445161" y="274409"/>
                  </a:lnTo>
                  <a:lnTo>
                    <a:pt x="445161" y="274409"/>
                  </a:lnTo>
                  <a:lnTo>
                    <a:pt x="445161" y="274409"/>
                  </a:lnTo>
                  <a:lnTo>
                    <a:pt x="442632" y="273144"/>
                  </a:lnTo>
                  <a:lnTo>
                    <a:pt x="10117" y="0"/>
                  </a:lnTo>
                  <a:lnTo>
                    <a:pt x="2529" y="3794"/>
                  </a:lnTo>
                  <a:lnTo>
                    <a:pt x="0" y="5058"/>
                  </a:lnTo>
                  <a:lnTo>
                    <a:pt x="433779" y="278202"/>
                  </a:lnTo>
                  <a:lnTo>
                    <a:pt x="440102" y="281996"/>
                  </a:lnTo>
                  <a:cubicBezTo>
                    <a:pt x="442632" y="285790"/>
                    <a:pt x="443896" y="284525"/>
                    <a:pt x="445161" y="28326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346A1C2C-5814-42DD-BBB1-1679A5F59253}"/>
                </a:ext>
              </a:extLst>
            </p:cNvPr>
            <p:cNvSpPr/>
            <p:nvPr/>
          </p:nvSpPr>
          <p:spPr>
            <a:xfrm>
              <a:off x="10287774" y="4602503"/>
              <a:ext cx="436308" cy="252595"/>
            </a:xfrm>
            <a:custGeom>
              <a:avLst/>
              <a:gdLst>
                <a:gd name="connsiteX0" fmla="*/ 429985 w 436308"/>
                <a:gd name="connsiteY0" fmla="*/ 251647 h 252595"/>
                <a:gd name="connsiteX1" fmla="*/ 435044 w 436308"/>
                <a:gd name="connsiteY1" fmla="*/ 251647 h 252595"/>
                <a:gd name="connsiteX2" fmla="*/ 436308 w 436308"/>
                <a:gd name="connsiteY2" fmla="*/ 251647 h 252595"/>
                <a:gd name="connsiteX3" fmla="*/ 436308 w 436308"/>
                <a:gd name="connsiteY3" fmla="*/ 251647 h 252595"/>
                <a:gd name="connsiteX4" fmla="*/ 436308 w 436308"/>
                <a:gd name="connsiteY4" fmla="*/ 251647 h 252595"/>
                <a:gd name="connsiteX5" fmla="*/ 436308 w 436308"/>
                <a:gd name="connsiteY5" fmla="*/ 251647 h 252595"/>
                <a:gd name="connsiteX6" fmla="*/ 436308 w 436308"/>
                <a:gd name="connsiteY6" fmla="*/ 250382 h 252595"/>
                <a:gd name="connsiteX7" fmla="*/ 436308 w 436308"/>
                <a:gd name="connsiteY7" fmla="*/ 249118 h 252595"/>
                <a:gd name="connsiteX8" fmla="*/ 436308 w 436308"/>
                <a:gd name="connsiteY8" fmla="*/ 247853 h 252595"/>
                <a:gd name="connsiteX9" fmla="*/ 436308 w 436308"/>
                <a:gd name="connsiteY9" fmla="*/ 246588 h 252595"/>
                <a:gd name="connsiteX10" fmla="*/ 436308 w 436308"/>
                <a:gd name="connsiteY10" fmla="*/ 245324 h 252595"/>
                <a:gd name="connsiteX11" fmla="*/ 436308 w 436308"/>
                <a:gd name="connsiteY11" fmla="*/ 245324 h 252595"/>
                <a:gd name="connsiteX12" fmla="*/ 435044 w 436308"/>
                <a:gd name="connsiteY12" fmla="*/ 245324 h 252595"/>
                <a:gd name="connsiteX13" fmla="*/ 435044 w 436308"/>
                <a:gd name="connsiteY13" fmla="*/ 245324 h 252595"/>
                <a:gd name="connsiteX14" fmla="*/ 432514 w 436308"/>
                <a:gd name="connsiteY14" fmla="*/ 244059 h 252595"/>
                <a:gd name="connsiteX15" fmla="*/ 426191 w 436308"/>
                <a:gd name="connsiteY15" fmla="*/ 240266 h 252595"/>
                <a:gd name="connsiteX16" fmla="*/ 3794 w 436308"/>
                <a:gd name="connsiteY16" fmla="*/ 0 h 252595"/>
                <a:gd name="connsiteX17" fmla="*/ 3794 w 436308"/>
                <a:gd name="connsiteY17" fmla="*/ 2529 h 252595"/>
                <a:gd name="connsiteX18" fmla="*/ 3794 w 436308"/>
                <a:gd name="connsiteY18" fmla="*/ 2529 h 252595"/>
                <a:gd name="connsiteX19" fmla="*/ 3794 w 436308"/>
                <a:gd name="connsiteY19" fmla="*/ 3794 h 252595"/>
                <a:gd name="connsiteX20" fmla="*/ 3794 w 436308"/>
                <a:gd name="connsiteY20" fmla="*/ 5058 h 252595"/>
                <a:gd name="connsiteX21" fmla="*/ 3794 w 436308"/>
                <a:gd name="connsiteY21" fmla="*/ 6323 h 252595"/>
                <a:gd name="connsiteX22" fmla="*/ 3794 w 436308"/>
                <a:gd name="connsiteY22" fmla="*/ 7587 h 252595"/>
                <a:gd name="connsiteX23" fmla="*/ 3794 w 436308"/>
                <a:gd name="connsiteY23" fmla="*/ 7587 h 252595"/>
                <a:gd name="connsiteX24" fmla="*/ 2529 w 436308"/>
                <a:gd name="connsiteY24" fmla="*/ 7587 h 252595"/>
                <a:gd name="connsiteX25" fmla="*/ 2529 w 436308"/>
                <a:gd name="connsiteY25" fmla="*/ 7587 h 252595"/>
                <a:gd name="connsiteX26" fmla="*/ 0 w 436308"/>
                <a:gd name="connsiteY26" fmla="*/ 8852 h 252595"/>
                <a:gd name="connsiteX27" fmla="*/ 422397 w 436308"/>
                <a:gd name="connsiteY27" fmla="*/ 249118 h 252595"/>
                <a:gd name="connsiteX28" fmla="*/ 429985 w 436308"/>
                <a:gd name="connsiteY28" fmla="*/ 251647 h 252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36308" h="252595">
                  <a:moveTo>
                    <a:pt x="429985" y="251647"/>
                  </a:moveTo>
                  <a:cubicBezTo>
                    <a:pt x="431250" y="252911"/>
                    <a:pt x="433779" y="252911"/>
                    <a:pt x="435044" y="251647"/>
                  </a:cubicBezTo>
                  <a:lnTo>
                    <a:pt x="436308" y="251647"/>
                  </a:lnTo>
                  <a:lnTo>
                    <a:pt x="436308" y="251647"/>
                  </a:lnTo>
                  <a:lnTo>
                    <a:pt x="436308" y="251647"/>
                  </a:lnTo>
                  <a:lnTo>
                    <a:pt x="436308" y="251647"/>
                  </a:lnTo>
                  <a:cubicBezTo>
                    <a:pt x="436308" y="251647"/>
                    <a:pt x="436308" y="251647"/>
                    <a:pt x="436308" y="250382"/>
                  </a:cubicBezTo>
                  <a:cubicBezTo>
                    <a:pt x="436308" y="250382"/>
                    <a:pt x="436308" y="250382"/>
                    <a:pt x="436308" y="249118"/>
                  </a:cubicBezTo>
                  <a:cubicBezTo>
                    <a:pt x="436308" y="249118"/>
                    <a:pt x="436308" y="249118"/>
                    <a:pt x="436308" y="247853"/>
                  </a:cubicBezTo>
                  <a:cubicBezTo>
                    <a:pt x="436308" y="247853"/>
                    <a:pt x="436308" y="247853"/>
                    <a:pt x="436308" y="246588"/>
                  </a:cubicBezTo>
                  <a:cubicBezTo>
                    <a:pt x="436308" y="246588"/>
                    <a:pt x="436308" y="246588"/>
                    <a:pt x="436308" y="245324"/>
                  </a:cubicBezTo>
                  <a:cubicBezTo>
                    <a:pt x="436308" y="245324"/>
                    <a:pt x="436308" y="245324"/>
                    <a:pt x="436308" y="245324"/>
                  </a:cubicBezTo>
                  <a:lnTo>
                    <a:pt x="435044" y="245324"/>
                  </a:lnTo>
                  <a:lnTo>
                    <a:pt x="435044" y="245324"/>
                  </a:lnTo>
                  <a:lnTo>
                    <a:pt x="432514" y="244059"/>
                  </a:lnTo>
                  <a:lnTo>
                    <a:pt x="426191" y="240266"/>
                  </a:lnTo>
                  <a:lnTo>
                    <a:pt x="3794" y="0"/>
                  </a:lnTo>
                  <a:lnTo>
                    <a:pt x="3794" y="2529"/>
                  </a:lnTo>
                  <a:lnTo>
                    <a:pt x="3794" y="2529"/>
                  </a:lnTo>
                  <a:lnTo>
                    <a:pt x="3794" y="3794"/>
                  </a:lnTo>
                  <a:cubicBezTo>
                    <a:pt x="3794" y="3794"/>
                    <a:pt x="3794" y="3794"/>
                    <a:pt x="3794" y="5058"/>
                  </a:cubicBezTo>
                  <a:lnTo>
                    <a:pt x="3794" y="6323"/>
                  </a:lnTo>
                  <a:cubicBezTo>
                    <a:pt x="3794" y="6323"/>
                    <a:pt x="3794" y="6323"/>
                    <a:pt x="3794" y="7587"/>
                  </a:cubicBezTo>
                  <a:lnTo>
                    <a:pt x="3794" y="7587"/>
                  </a:lnTo>
                  <a:lnTo>
                    <a:pt x="2529" y="7587"/>
                  </a:lnTo>
                  <a:lnTo>
                    <a:pt x="2529" y="7587"/>
                  </a:lnTo>
                  <a:lnTo>
                    <a:pt x="0" y="8852"/>
                  </a:lnTo>
                  <a:lnTo>
                    <a:pt x="422397" y="249118"/>
                  </a:lnTo>
                  <a:lnTo>
                    <a:pt x="429985" y="251647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701A608B-C2A2-460A-BEA8-F55068DBA166}"/>
                </a:ext>
              </a:extLst>
            </p:cNvPr>
            <p:cNvSpPr/>
            <p:nvPr/>
          </p:nvSpPr>
          <p:spPr>
            <a:xfrm>
              <a:off x="9929875" y="4778276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529C5330-27E2-4C88-99A4-183E45289CA4}"/>
                </a:ext>
              </a:extLst>
            </p:cNvPr>
            <p:cNvSpPr/>
            <p:nvPr/>
          </p:nvSpPr>
          <p:spPr>
            <a:xfrm>
              <a:off x="9928610" y="4777012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  <a:gd name="connsiteX4" fmla="*/ 0 w 12646"/>
                <a:gd name="connsiteY4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C6708AF7-1B31-4F52-8773-7A9D09F8540E}"/>
                </a:ext>
              </a:extLst>
            </p:cNvPr>
            <p:cNvSpPr/>
            <p:nvPr/>
          </p:nvSpPr>
          <p:spPr>
            <a:xfrm>
              <a:off x="9934934" y="4601238"/>
              <a:ext cx="354105" cy="178302"/>
            </a:xfrm>
            <a:custGeom>
              <a:avLst/>
              <a:gdLst>
                <a:gd name="connsiteX0" fmla="*/ 0 w 354105"/>
                <a:gd name="connsiteY0" fmla="*/ 178302 h 178302"/>
                <a:gd name="connsiteX1" fmla="*/ 0 w 354105"/>
                <a:gd name="connsiteY1" fmla="*/ 178302 h 178302"/>
                <a:gd name="connsiteX2" fmla="*/ 7588 w 354105"/>
                <a:gd name="connsiteY2" fmla="*/ 174509 h 178302"/>
                <a:gd name="connsiteX3" fmla="*/ 351576 w 354105"/>
                <a:gd name="connsiteY3" fmla="*/ 8852 h 178302"/>
                <a:gd name="connsiteX4" fmla="*/ 354105 w 354105"/>
                <a:gd name="connsiteY4" fmla="*/ 7587 h 178302"/>
                <a:gd name="connsiteX5" fmla="*/ 354105 w 354105"/>
                <a:gd name="connsiteY5" fmla="*/ 7587 h 178302"/>
                <a:gd name="connsiteX6" fmla="*/ 352841 w 354105"/>
                <a:gd name="connsiteY6" fmla="*/ 7587 h 178302"/>
                <a:gd name="connsiteX7" fmla="*/ 347782 w 354105"/>
                <a:gd name="connsiteY7" fmla="*/ 3794 h 178302"/>
                <a:gd name="connsiteX8" fmla="*/ 347782 w 354105"/>
                <a:gd name="connsiteY8" fmla="*/ 3794 h 178302"/>
                <a:gd name="connsiteX9" fmla="*/ 346517 w 354105"/>
                <a:gd name="connsiteY9" fmla="*/ 0 h 178302"/>
                <a:gd name="connsiteX10" fmla="*/ 1265 w 354105"/>
                <a:gd name="connsiteY10" fmla="*/ 166922 h 178302"/>
                <a:gd name="connsiteX11" fmla="*/ 2529 w 354105"/>
                <a:gd name="connsiteY11" fmla="*/ 173244 h 178302"/>
                <a:gd name="connsiteX12" fmla="*/ 0 w 354105"/>
                <a:gd name="connsiteY12" fmla="*/ 178302 h 178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4105" h="178302">
                  <a:moveTo>
                    <a:pt x="0" y="178302"/>
                  </a:moveTo>
                  <a:lnTo>
                    <a:pt x="0" y="178302"/>
                  </a:lnTo>
                  <a:lnTo>
                    <a:pt x="7588" y="174509"/>
                  </a:lnTo>
                  <a:lnTo>
                    <a:pt x="351576" y="8852"/>
                  </a:lnTo>
                  <a:lnTo>
                    <a:pt x="354105" y="7587"/>
                  </a:lnTo>
                  <a:lnTo>
                    <a:pt x="354105" y="7587"/>
                  </a:lnTo>
                  <a:cubicBezTo>
                    <a:pt x="354105" y="7587"/>
                    <a:pt x="352841" y="7587"/>
                    <a:pt x="352841" y="7587"/>
                  </a:cubicBezTo>
                  <a:cubicBezTo>
                    <a:pt x="350311" y="7587"/>
                    <a:pt x="347782" y="6323"/>
                    <a:pt x="347782" y="3794"/>
                  </a:cubicBezTo>
                  <a:cubicBezTo>
                    <a:pt x="347782" y="3794"/>
                    <a:pt x="347782" y="3794"/>
                    <a:pt x="347782" y="3794"/>
                  </a:cubicBezTo>
                  <a:lnTo>
                    <a:pt x="346517" y="0"/>
                  </a:lnTo>
                  <a:lnTo>
                    <a:pt x="1265" y="166922"/>
                  </a:lnTo>
                  <a:lnTo>
                    <a:pt x="2529" y="173244"/>
                  </a:lnTo>
                  <a:cubicBezTo>
                    <a:pt x="2529" y="175773"/>
                    <a:pt x="1265" y="177038"/>
                    <a:pt x="0" y="178302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7949C869-C5A3-4A74-912A-7E176F0F924A}"/>
                </a:ext>
              </a:extLst>
            </p:cNvPr>
            <p:cNvSpPr/>
            <p:nvPr/>
          </p:nvSpPr>
          <p:spPr>
            <a:xfrm>
              <a:off x="11544848" y="2140412"/>
              <a:ext cx="509658" cy="184625"/>
            </a:xfrm>
            <a:custGeom>
              <a:avLst/>
              <a:gdLst>
                <a:gd name="connsiteX0" fmla="*/ 507129 w 509658"/>
                <a:gd name="connsiteY0" fmla="*/ 180832 h 184625"/>
                <a:gd name="connsiteX1" fmla="*/ 507129 w 509658"/>
                <a:gd name="connsiteY1" fmla="*/ 180832 h 184625"/>
                <a:gd name="connsiteX2" fmla="*/ 507129 w 509658"/>
                <a:gd name="connsiteY2" fmla="*/ 179567 h 184625"/>
                <a:gd name="connsiteX3" fmla="*/ 507129 w 509658"/>
                <a:gd name="connsiteY3" fmla="*/ 179567 h 184625"/>
                <a:gd name="connsiteX4" fmla="*/ 508394 w 509658"/>
                <a:gd name="connsiteY4" fmla="*/ 178302 h 184625"/>
                <a:gd name="connsiteX5" fmla="*/ 508394 w 509658"/>
                <a:gd name="connsiteY5" fmla="*/ 178302 h 184625"/>
                <a:gd name="connsiteX6" fmla="*/ 509659 w 509658"/>
                <a:gd name="connsiteY6" fmla="*/ 177038 h 184625"/>
                <a:gd name="connsiteX7" fmla="*/ 0 w 509658"/>
                <a:gd name="connsiteY7" fmla="*/ 0 h 184625"/>
                <a:gd name="connsiteX8" fmla="*/ 0 w 509658"/>
                <a:gd name="connsiteY8" fmla="*/ 2529 h 184625"/>
                <a:gd name="connsiteX9" fmla="*/ 2529 w 509658"/>
                <a:gd name="connsiteY9" fmla="*/ 8852 h 184625"/>
                <a:gd name="connsiteX10" fmla="*/ 507129 w 509658"/>
                <a:gd name="connsiteY10" fmla="*/ 184625 h 184625"/>
                <a:gd name="connsiteX11" fmla="*/ 507129 w 509658"/>
                <a:gd name="connsiteY11" fmla="*/ 182096 h 184625"/>
                <a:gd name="connsiteX12" fmla="*/ 507129 w 509658"/>
                <a:gd name="connsiteY12" fmla="*/ 182096 h 184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9658" h="184625">
                  <a:moveTo>
                    <a:pt x="507129" y="180832"/>
                  </a:moveTo>
                  <a:lnTo>
                    <a:pt x="507129" y="180832"/>
                  </a:lnTo>
                  <a:cubicBezTo>
                    <a:pt x="507129" y="179567"/>
                    <a:pt x="507129" y="179567"/>
                    <a:pt x="507129" y="179567"/>
                  </a:cubicBezTo>
                  <a:cubicBezTo>
                    <a:pt x="507129" y="179567"/>
                    <a:pt x="507129" y="179567"/>
                    <a:pt x="507129" y="179567"/>
                  </a:cubicBezTo>
                  <a:lnTo>
                    <a:pt x="508394" y="178302"/>
                  </a:lnTo>
                  <a:lnTo>
                    <a:pt x="508394" y="178302"/>
                  </a:lnTo>
                  <a:lnTo>
                    <a:pt x="509659" y="177038"/>
                  </a:lnTo>
                  <a:lnTo>
                    <a:pt x="0" y="0"/>
                  </a:lnTo>
                  <a:lnTo>
                    <a:pt x="0" y="2529"/>
                  </a:lnTo>
                  <a:lnTo>
                    <a:pt x="2529" y="8852"/>
                  </a:lnTo>
                  <a:lnTo>
                    <a:pt x="507129" y="184625"/>
                  </a:lnTo>
                  <a:lnTo>
                    <a:pt x="507129" y="182096"/>
                  </a:lnTo>
                  <a:lnTo>
                    <a:pt x="507129" y="182096"/>
                  </a:lnTo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085354F-6939-4CA3-A8E5-1D20F7C4BEA6}"/>
                </a:ext>
              </a:extLst>
            </p:cNvPr>
            <p:cNvSpPr/>
            <p:nvPr/>
          </p:nvSpPr>
          <p:spPr>
            <a:xfrm>
              <a:off x="11522084" y="1919115"/>
              <a:ext cx="128995" cy="58169"/>
            </a:xfrm>
            <a:custGeom>
              <a:avLst/>
              <a:gdLst>
                <a:gd name="connsiteX0" fmla="*/ 1265 w 128995"/>
                <a:gd name="connsiteY0" fmla="*/ 58169 h 58169"/>
                <a:gd name="connsiteX1" fmla="*/ 128995 w 128995"/>
                <a:gd name="connsiteY1" fmla="*/ 8852 h 58169"/>
                <a:gd name="connsiteX2" fmla="*/ 127731 w 128995"/>
                <a:gd name="connsiteY2" fmla="*/ 3794 h 58169"/>
                <a:gd name="connsiteX3" fmla="*/ 127731 w 128995"/>
                <a:gd name="connsiteY3" fmla="*/ 0 h 58169"/>
                <a:gd name="connsiteX4" fmla="*/ 0 w 128995"/>
                <a:gd name="connsiteY4" fmla="*/ 49318 h 58169"/>
                <a:gd name="connsiteX5" fmla="*/ 1265 w 128995"/>
                <a:gd name="connsiteY5" fmla="*/ 54376 h 58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8995" h="58169">
                  <a:moveTo>
                    <a:pt x="1265" y="58169"/>
                  </a:moveTo>
                  <a:lnTo>
                    <a:pt x="128995" y="8852"/>
                  </a:lnTo>
                  <a:lnTo>
                    <a:pt x="127731" y="3794"/>
                  </a:lnTo>
                  <a:lnTo>
                    <a:pt x="127731" y="0"/>
                  </a:lnTo>
                  <a:lnTo>
                    <a:pt x="0" y="49318"/>
                  </a:lnTo>
                  <a:lnTo>
                    <a:pt x="1265" y="54376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F72EF7BB-B9D5-4118-867D-28C07869E8C1}"/>
                </a:ext>
              </a:extLst>
            </p:cNvPr>
            <p:cNvSpPr/>
            <p:nvPr/>
          </p:nvSpPr>
          <p:spPr>
            <a:xfrm>
              <a:off x="12050713" y="2322508"/>
              <a:ext cx="123937" cy="940829"/>
            </a:xfrm>
            <a:custGeom>
              <a:avLst/>
              <a:gdLst>
                <a:gd name="connsiteX0" fmla="*/ 1265 w 123937"/>
                <a:gd name="connsiteY0" fmla="*/ 3794 h 940829"/>
                <a:gd name="connsiteX1" fmla="*/ 113820 w 123937"/>
                <a:gd name="connsiteY1" fmla="*/ 937036 h 940829"/>
                <a:gd name="connsiteX2" fmla="*/ 121408 w 123937"/>
                <a:gd name="connsiteY2" fmla="*/ 939565 h 940829"/>
                <a:gd name="connsiteX3" fmla="*/ 123937 w 123937"/>
                <a:gd name="connsiteY3" fmla="*/ 940830 h 940829"/>
                <a:gd name="connsiteX4" fmla="*/ 10118 w 123937"/>
                <a:gd name="connsiteY4" fmla="*/ 2529 h 940829"/>
                <a:gd name="connsiteX5" fmla="*/ 6323 w 123937"/>
                <a:gd name="connsiteY5" fmla="*/ 3794 h 940829"/>
                <a:gd name="connsiteX6" fmla="*/ 0 w 123937"/>
                <a:gd name="connsiteY6" fmla="*/ 1265 h 940829"/>
                <a:gd name="connsiteX7" fmla="*/ 0 w 123937"/>
                <a:gd name="connsiteY7" fmla="*/ 0 h 940829"/>
                <a:gd name="connsiteX8" fmla="*/ 0 w 123937"/>
                <a:gd name="connsiteY8" fmla="*/ 0 h 940829"/>
                <a:gd name="connsiteX9" fmla="*/ 1265 w 123937"/>
                <a:gd name="connsiteY9" fmla="*/ 3794 h 94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3937" h="940829">
                  <a:moveTo>
                    <a:pt x="1265" y="3794"/>
                  </a:moveTo>
                  <a:lnTo>
                    <a:pt x="113820" y="937036"/>
                  </a:lnTo>
                  <a:lnTo>
                    <a:pt x="121408" y="939565"/>
                  </a:lnTo>
                  <a:lnTo>
                    <a:pt x="123937" y="940830"/>
                  </a:lnTo>
                  <a:lnTo>
                    <a:pt x="10118" y="2529"/>
                  </a:lnTo>
                  <a:lnTo>
                    <a:pt x="6323" y="3794"/>
                  </a:lnTo>
                  <a:cubicBezTo>
                    <a:pt x="3794" y="5058"/>
                    <a:pt x="1265" y="3794"/>
                    <a:pt x="0" y="1265"/>
                  </a:cubicBezTo>
                  <a:cubicBezTo>
                    <a:pt x="0" y="1265"/>
                    <a:pt x="0" y="0"/>
                    <a:pt x="0" y="0"/>
                  </a:cubicBezTo>
                  <a:lnTo>
                    <a:pt x="0" y="0"/>
                  </a:lnTo>
                  <a:lnTo>
                    <a:pt x="1265" y="3794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A8D425C0-ACA9-4DA0-9C01-E36D35C3FCEC}"/>
                </a:ext>
              </a:extLst>
            </p:cNvPr>
            <p:cNvSpPr/>
            <p:nvPr/>
          </p:nvSpPr>
          <p:spPr>
            <a:xfrm>
              <a:off x="10606469" y="305541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B95B9AB2-C26E-4501-AA0D-6D5052593E80}"/>
                </a:ext>
              </a:extLst>
            </p:cNvPr>
            <p:cNvSpPr/>
            <p:nvPr/>
          </p:nvSpPr>
          <p:spPr>
            <a:xfrm>
              <a:off x="10608998" y="301748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6203AA5B-50BB-4E35-BFAC-D8766D1CCD1D}"/>
                </a:ext>
              </a:extLst>
            </p:cNvPr>
            <p:cNvSpPr/>
            <p:nvPr/>
          </p:nvSpPr>
          <p:spPr>
            <a:xfrm>
              <a:off x="10615322" y="305541"/>
              <a:ext cx="252932" cy="64492"/>
            </a:xfrm>
            <a:custGeom>
              <a:avLst/>
              <a:gdLst>
                <a:gd name="connsiteX0" fmla="*/ 249139 w 252932"/>
                <a:gd name="connsiteY0" fmla="*/ 61963 h 64492"/>
                <a:gd name="connsiteX1" fmla="*/ 249139 w 252932"/>
                <a:gd name="connsiteY1" fmla="*/ 61963 h 64492"/>
                <a:gd name="connsiteX2" fmla="*/ 249139 w 252932"/>
                <a:gd name="connsiteY2" fmla="*/ 60699 h 64492"/>
                <a:gd name="connsiteX3" fmla="*/ 249139 w 252932"/>
                <a:gd name="connsiteY3" fmla="*/ 59434 h 64492"/>
                <a:gd name="connsiteX4" fmla="*/ 249139 w 252932"/>
                <a:gd name="connsiteY4" fmla="*/ 58170 h 64492"/>
                <a:gd name="connsiteX5" fmla="*/ 249139 w 252932"/>
                <a:gd name="connsiteY5" fmla="*/ 56905 h 64492"/>
                <a:gd name="connsiteX6" fmla="*/ 250403 w 252932"/>
                <a:gd name="connsiteY6" fmla="*/ 56905 h 64492"/>
                <a:gd name="connsiteX7" fmla="*/ 251668 w 252932"/>
                <a:gd name="connsiteY7" fmla="*/ 56905 h 64492"/>
                <a:gd name="connsiteX8" fmla="*/ 251668 w 252932"/>
                <a:gd name="connsiteY8" fmla="*/ 56905 h 64492"/>
                <a:gd name="connsiteX9" fmla="*/ 252932 w 252932"/>
                <a:gd name="connsiteY9" fmla="*/ 56905 h 64492"/>
                <a:gd name="connsiteX10" fmla="*/ 12647 w 252932"/>
                <a:gd name="connsiteY10" fmla="*/ 0 h 64492"/>
                <a:gd name="connsiteX11" fmla="*/ 0 w 252932"/>
                <a:gd name="connsiteY11" fmla="*/ 3794 h 64492"/>
                <a:gd name="connsiteX12" fmla="*/ 0 w 252932"/>
                <a:gd name="connsiteY12" fmla="*/ 6323 h 64492"/>
                <a:gd name="connsiteX13" fmla="*/ 247874 w 252932"/>
                <a:gd name="connsiteY13" fmla="*/ 64492 h 64492"/>
                <a:gd name="connsiteX14" fmla="*/ 249139 w 252932"/>
                <a:gd name="connsiteY14" fmla="*/ 61963 h 64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52932" h="64492">
                  <a:moveTo>
                    <a:pt x="249139" y="61963"/>
                  </a:moveTo>
                  <a:lnTo>
                    <a:pt x="249139" y="61963"/>
                  </a:lnTo>
                  <a:cubicBezTo>
                    <a:pt x="249139" y="60699"/>
                    <a:pt x="249139" y="60699"/>
                    <a:pt x="249139" y="60699"/>
                  </a:cubicBezTo>
                  <a:cubicBezTo>
                    <a:pt x="249139" y="60699"/>
                    <a:pt x="249139" y="60699"/>
                    <a:pt x="249139" y="59434"/>
                  </a:cubicBezTo>
                  <a:cubicBezTo>
                    <a:pt x="249139" y="59434"/>
                    <a:pt x="249139" y="59434"/>
                    <a:pt x="249139" y="58170"/>
                  </a:cubicBezTo>
                  <a:cubicBezTo>
                    <a:pt x="249139" y="58170"/>
                    <a:pt x="249139" y="58170"/>
                    <a:pt x="249139" y="56905"/>
                  </a:cubicBezTo>
                  <a:cubicBezTo>
                    <a:pt x="249139" y="56905"/>
                    <a:pt x="249139" y="56905"/>
                    <a:pt x="250403" y="56905"/>
                  </a:cubicBezTo>
                  <a:lnTo>
                    <a:pt x="251668" y="56905"/>
                  </a:lnTo>
                  <a:lnTo>
                    <a:pt x="251668" y="56905"/>
                  </a:lnTo>
                  <a:lnTo>
                    <a:pt x="252932" y="56905"/>
                  </a:lnTo>
                  <a:lnTo>
                    <a:pt x="12647" y="0"/>
                  </a:lnTo>
                  <a:lnTo>
                    <a:pt x="0" y="3794"/>
                  </a:lnTo>
                  <a:lnTo>
                    <a:pt x="0" y="6323"/>
                  </a:lnTo>
                  <a:lnTo>
                    <a:pt x="247874" y="64492"/>
                  </a:lnTo>
                  <a:lnTo>
                    <a:pt x="249139" y="61963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2A95263A-807B-438A-8C12-52BBB65E0240}"/>
                </a:ext>
              </a:extLst>
            </p:cNvPr>
            <p:cNvSpPr/>
            <p:nvPr/>
          </p:nvSpPr>
          <p:spPr>
            <a:xfrm>
              <a:off x="10606469" y="305541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878BA0F7-1F00-4859-92FE-D060EB791F84}"/>
                </a:ext>
              </a:extLst>
            </p:cNvPr>
            <p:cNvSpPr/>
            <p:nvPr/>
          </p:nvSpPr>
          <p:spPr>
            <a:xfrm>
              <a:off x="10610263" y="182880"/>
              <a:ext cx="408485" cy="126455"/>
            </a:xfrm>
            <a:custGeom>
              <a:avLst/>
              <a:gdLst>
                <a:gd name="connsiteX0" fmla="*/ 0 w 408485"/>
                <a:gd name="connsiteY0" fmla="*/ 118868 h 126455"/>
                <a:gd name="connsiteX1" fmla="*/ 5059 w 408485"/>
                <a:gd name="connsiteY1" fmla="*/ 122662 h 126455"/>
                <a:gd name="connsiteX2" fmla="*/ 5059 w 408485"/>
                <a:gd name="connsiteY2" fmla="*/ 122662 h 126455"/>
                <a:gd name="connsiteX3" fmla="*/ 6323 w 408485"/>
                <a:gd name="connsiteY3" fmla="*/ 126456 h 126455"/>
                <a:gd name="connsiteX4" fmla="*/ 18970 w 408485"/>
                <a:gd name="connsiteY4" fmla="*/ 122662 h 126455"/>
                <a:gd name="connsiteX5" fmla="*/ 408486 w 408485"/>
                <a:gd name="connsiteY5" fmla="*/ 8852 h 126455"/>
                <a:gd name="connsiteX6" fmla="*/ 407221 w 408485"/>
                <a:gd name="connsiteY6" fmla="*/ 8852 h 126455"/>
                <a:gd name="connsiteX7" fmla="*/ 403427 w 408485"/>
                <a:gd name="connsiteY7" fmla="*/ 3794 h 126455"/>
                <a:gd name="connsiteX8" fmla="*/ 407221 w 408485"/>
                <a:gd name="connsiteY8" fmla="*/ 0 h 126455"/>
                <a:gd name="connsiteX9" fmla="*/ 407221 w 408485"/>
                <a:gd name="connsiteY9" fmla="*/ 0 h 126455"/>
                <a:gd name="connsiteX10" fmla="*/ 0 w 408485"/>
                <a:gd name="connsiteY10" fmla="*/ 118868 h 126455"/>
                <a:gd name="connsiteX11" fmla="*/ 0 w 408485"/>
                <a:gd name="connsiteY11" fmla="*/ 118868 h 126455"/>
                <a:gd name="connsiteX12" fmla="*/ 0 w 408485"/>
                <a:gd name="connsiteY12" fmla="*/ 118868 h 126455"/>
                <a:gd name="connsiteX13" fmla="*/ 0 w 408485"/>
                <a:gd name="connsiteY13" fmla="*/ 118868 h 126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08485" h="126455">
                  <a:moveTo>
                    <a:pt x="0" y="118868"/>
                  </a:moveTo>
                  <a:cubicBezTo>
                    <a:pt x="2529" y="118868"/>
                    <a:pt x="5059" y="120133"/>
                    <a:pt x="5059" y="122662"/>
                  </a:cubicBezTo>
                  <a:cubicBezTo>
                    <a:pt x="5059" y="122662"/>
                    <a:pt x="5059" y="122662"/>
                    <a:pt x="5059" y="122662"/>
                  </a:cubicBezTo>
                  <a:lnTo>
                    <a:pt x="6323" y="126456"/>
                  </a:lnTo>
                  <a:lnTo>
                    <a:pt x="18970" y="122662"/>
                  </a:lnTo>
                  <a:lnTo>
                    <a:pt x="408486" y="8852"/>
                  </a:lnTo>
                  <a:lnTo>
                    <a:pt x="407221" y="8852"/>
                  </a:lnTo>
                  <a:cubicBezTo>
                    <a:pt x="404692" y="8852"/>
                    <a:pt x="403427" y="6323"/>
                    <a:pt x="403427" y="3794"/>
                  </a:cubicBezTo>
                  <a:cubicBezTo>
                    <a:pt x="403427" y="2529"/>
                    <a:pt x="404692" y="1265"/>
                    <a:pt x="407221" y="0"/>
                  </a:cubicBezTo>
                  <a:lnTo>
                    <a:pt x="407221" y="0"/>
                  </a:lnTo>
                  <a:lnTo>
                    <a:pt x="0" y="118868"/>
                  </a:lnTo>
                  <a:lnTo>
                    <a:pt x="0" y="118868"/>
                  </a:lnTo>
                  <a:lnTo>
                    <a:pt x="0" y="118868"/>
                  </a:lnTo>
                  <a:lnTo>
                    <a:pt x="0" y="118868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48102ACB-6B14-4418-A562-0C3092A57277}"/>
                </a:ext>
              </a:extLst>
            </p:cNvPr>
            <p:cNvSpPr/>
            <p:nvPr/>
          </p:nvSpPr>
          <p:spPr>
            <a:xfrm>
              <a:off x="11284328" y="244843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9403E1B8-DC3F-458E-AF46-251D5206D4DE}"/>
                </a:ext>
              </a:extLst>
            </p:cNvPr>
            <p:cNvSpPr/>
            <p:nvPr/>
          </p:nvSpPr>
          <p:spPr>
            <a:xfrm>
              <a:off x="11281799" y="241049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D2A264B2-7D25-44AB-9CFD-546F85E50CB3}"/>
                </a:ext>
              </a:extLst>
            </p:cNvPr>
            <p:cNvSpPr/>
            <p:nvPr/>
          </p:nvSpPr>
          <p:spPr>
            <a:xfrm>
              <a:off x="11283063" y="242314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6C6E7DD1-647B-4243-A05E-3890C6BC8B0A}"/>
                </a:ext>
              </a:extLst>
            </p:cNvPr>
            <p:cNvSpPr/>
            <p:nvPr/>
          </p:nvSpPr>
          <p:spPr>
            <a:xfrm>
              <a:off x="11013690" y="182880"/>
              <a:ext cx="268108" cy="63227"/>
            </a:xfrm>
            <a:custGeom>
              <a:avLst/>
              <a:gdLst>
                <a:gd name="connsiteX0" fmla="*/ 0 w 268108"/>
                <a:gd name="connsiteY0" fmla="*/ 3794 h 63227"/>
                <a:gd name="connsiteX1" fmla="*/ 3794 w 268108"/>
                <a:gd name="connsiteY1" fmla="*/ 8852 h 63227"/>
                <a:gd name="connsiteX2" fmla="*/ 5059 w 268108"/>
                <a:gd name="connsiteY2" fmla="*/ 8852 h 63227"/>
                <a:gd name="connsiteX3" fmla="*/ 247874 w 268108"/>
                <a:gd name="connsiteY3" fmla="*/ 63228 h 63227"/>
                <a:gd name="connsiteX4" fmla="*/ 265579 w 268108"/>
                <a:gd name="connsiteY4" fmla="*/ 58170 h 63227"/>
                <a:gd name="connsiteX5" fmla="*/ 268108 w 268108"/>
                <a:gd name="connsiteY5" fmla="*/ 58170 h 63227"/>
                <a:gd name="connsiteX6" fmla="*/ 6323 w 268108"/>
                <a:gd name="connsiteY6" fmla="*/ 0 h 63227"/>
                <a:gd name="connsiteX7" fmla="*/ 3794 w 268108"/>
                <a:gd name="connsiteY7" fmla="*/ 0 h 63227"/>
                <a:gd name="connsiteX8" fmla="*/ 0 w 268108"/>
                <a:gd name="connsiteY8" fmla="*/ 3794 h 63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8108" h="63227">
                  <a:moveTo>
                    <a:pt x="0" y="3794"/>
                  </a:moveTo>
                  <a:cubicBezTo>
                    <a:pt x="0" y="6323"/>
                    <a:pt x="1265" y="8852"/>
                    <a:pt x="3794" y="8852"/>
                  </a:cubicBezTo>
                  <a:lnTo>
                    <a:pt x="5059" y="8852"/>
                  </a:lnTo>
                  <a:lnTo>
                    <a:pt x="247874" y="63228"/>
                  </a:lnTo>
                  <a:lnTo>
                    <a:pt x="265579" y="58170"/>
                  </a:lnTo>
                  <a:lnTo>
                    <a:pt x="268108" y="58170"/>
                  </a:lnTo>
                  <a:lnTo>
                    <a:pt x="6323" y="0"/>
                  </a:lnTo>
                  <a:lnTo>
                    <a:pt x="3794" y="0"/>
                  </a:lnTo>
                  <a:cubicBezTo>
                    <a:pt x="2529" y="0"/>
                    <a:pt x="1265" y="1265"/>
                    <a:pt x="0" y="3794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3C1C3463-0CDE-4AF9-AFF8-AF889464435A}"/>
                </a:ext>
              </a:extLst>
            </p:cNvPr>
            <p:cNvSpPr/>
            <p:nvPr/>
          </p:nvSpPr>
          <p:spPr>
            <a:xfrm>
              <a:off x="10868254" y="241049"/>
              <a:ext cx="411015" cy="128984"/>
            </a:xfrm>
            <a:custGeom>
              <a:avLst/>
              <a:gdLst>
                <a:gd name="connsiteX0" fmla="*/ 0 w 411015"/>
                <a:gd name="connsiteY0" fmla="*/ 121397 h 128984"/>
                <a:gd name="connsiteX1" fmla="*/ 0 w 411015"/>
                <a:gd name="connsiteY1" fmla="*/ 121397 h 128984"/>
                <a:gd name="connsiteX2" fmla="*/ 0 w 411015"/>
                <a:gd name="connsiteY2" fmla="*/ 121397 h 128984"/>
                <a:gd name="connsiteX3" fmla="*/ 6323 w 411015"/>
                <a:gd name="connsiteY3" fmla="*/ 125191 h 128984"/>
                <a:gd name="connsiteX4" fmla="*/ 6323 w 411015"/>
                <a:gd name="connsiteY4" fmla="*/ 125191 h 128984"/>
                <a:gd name="connsiteX5" fmla="*/ 7588 w 411015"/>
                <a:gd name="connsiteY5" fmla="*/ 128985 h 128984"/>
                <a:gd name="connsiteX6" fmla="*/ 409751 w 411015"/>
                <a:gd name="connsiteY6" fmla="*/ 8852 h 128984"/>
                <a:gd name="connsiteX7" fmla="*/ 407221 w 411015"/>
                <a:gd name="connsiteY7" fmla="*/ 5058 h 128984"/>
                <a:gd name="connsiteX8" fmla="*/ 411015 w 411015"/>
                <a:gd name="connsiteY8" fmla="*/ 0 h 128984"/>
                <a:gd name="connsiteX9" fmla="*/ 411015 w 411015"/>
                <a:gd name="connsiteY9" fmla="*/ 0 h 128984"/>
                <a:gd name="connsiteX10" fmla="*/ 393310 w 411015"/>
                <a:gd name="connsiteY10" fmla="*/ 5058 h 128984"/>
                <a:gd name="connsiteX11" fmla="*/ 1265 w 411015"/>
                <a:gd name="connsiteY11" fmla="*/ 121397 h 128984"/>
                <a:gd name="connsiteX12" fmla="*/ 0 w 411015"/>
                <a:gd name="connsiteY12" fmla="*/ 121397 h 12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1015" h="128984">
                  <a:moveTo>
                    <a:pt x="0" y="121397"/>
                  </a:moveTo>
                  <a:lnTo>
                    <a:pt x="0" y="121397"/>
                  </a:lnTo>
                  <a:lnTo>
                    <a:pt x="0" y="121397"/>
                  </a:lnTo>
                  <a:cubicBezTo>
                    <a:pt x="3794" y="121397"/>
                    <a:pt x="6323" y="122662"/>
                    <a:pt x="6323" y="125191"/>
                  </a:cubicBezTo>
                  <a:cubicBezTo>
                    <a:pt x="6323" y="125191"/>
                    <a:pt x="6323" y="125191"/>
                    <a:pt x="6323" y="125191"/>
                  </a:cubicBezTo>
                  <a:lnTo>
                    <a:pt x="7588" y="128985"/>
                  </a:lnTo>
                  <a:lnTo>
                    <a:pt x="409751" y="8852"/>
                  </a:lnTo>
                  <a:lnTo>
                    <a:pt x="407221" y="5058"/>
                  </a:lnTo>
                  <a:cubicBezTo>
                    <a:pt x="407221" y="2529"/>
                    <a:pt x="408486" y="0"/>
                    <a:pt x="411015" y="0"/>
                  </a:cubicBezTo>
                  <a:lnTo>
                    <a:pt x="411015" y="0"/>
                  </a:lnTo>
                  <a:lnTo>
                    <a:pt x="393310" y="5058"/>
                  </a:lnTo>
                  <a:lnTo>
                    <a:pt x="1265" y="121397"/>
                  </a:lnTo>
                  <a:lnTo>
                    <a:pt x="0" y="121397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A74BBFC9-3ADE-416B-93CB-BFCB167A8EC5}"/>
                </a:ext>
              </a:extLst>
            </p:cNvPr>
            <p:cNvSpPr/>
            <p:nvPr/>
          </p:nvSpPr>
          <p:spPr>
            <a:xfrm>
              <a:off x="11284328" y="243578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  <a:gd name="connsiteX4" fmla="*/ 0 w 12646"/>
                <a:gd name="connsiteY4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51F054F3-A6DC-46D1-96EF-FAA0A7630F37}"/>
                </a:ext>
              </a:extLst>
            </p:cNvPr>
            <p:cNvSpPr/>
            <p:nvPr/>
          </p:nvSpPr>
          <p:spPr>
            <a:xfrm>
              <a:off x="11281799" y="241049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028277E0-1AF6-4FE7-B8E3-2E77A9261918}"/>
                </a:ext>
              </a:extLst>
            </p:cNvPr>
            <p:cNvSpPr/>
            <p:nvPr/>
          </p:nvSpPr>
          <p:spPr>
            <a:xfrm>
              <a:off x="11283063" y="242314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C3E0C87D-A04E-4446-80E8-C03951024E59}"/>
                </a:ext>
              </a:extLst>
            </p:cNvPr>
            <p:cNvSpPr/>
            <p:nvPr/>
          </p:nvSpPr>
          <p:spPr>
            <a:xfrm>
              <a:off x="10864460" y="363711"/>
              <a:ext cx="586802" cy="3802520"/>
            </a:xfrm>
            <a:custGeom>
              <a:avLst/>
              <a:gdLst>
                <a:gd name="connsiteX0" fmla="*/ 581744 w 586802"/>
                <a:gd name="connsiteY0" fmla="*/ 3796197 h 3802520"/>
                <a:gd name="connsiteX1" fmla="*/ 586803 w 586802"/>
                <a:gd name="connsiteY1" fmla="*/ 3799991 h 3802520"/>
                <a:gd name="connsiteX2" fmla="*/ 586803 w 586802"/>
                <a:gd name="connsiteY2" fmla="*/ 3799991 h 3802520"/>
                <a:gd name="connsiteX3" fmla="*/ 585538 w 586802"/>
                <a:gd name="connsiteY3" fmla="*/ 3793668 h 3802520"/>
                <a:gd name="connsiteX4" fmla="*/ 10117 w 586802"/>
                <a:gd name="connsiteY4" fmla="*/ 7587 h 3802520"/>
                <a:gd name="connsiteX5" fmla="*/ 8853 w 586802"/>
                <a:gd name="connsiteY5" fmla="*/ 3794 h 3802520"/>
                <a:gd name="connsiteX6" fmla="*/ 3794 w 586802"/>
                <a:gd name="connsiteY6" fmla="*/ 0 h 3802520"/>
                <a:gd name="connsiteX7" fmla="*/ 3794 w 586802"/>
                <a:gd name="connsiteY7" fmla="*/ 0 h 3802520"/>
                <a:gd name="connsiteX8" fmla="*/ 2529 w 586802"/>
                <a:gd name="connsiteY8" fmla="*/ 0 h 3802520"/>
                <a:gd name="connsiteX9" fmla="*/ 1265 w 586802"/>
                <a:gd name="connsiteY9" fmla="*/ 0 h 3802520"/>
                <a:gd name="connsiteX10" fmla="*/ 0 w 586802"/>
                <a:gd name="connsiteY10" fmla="*/ 0 h 3802520"/>
                <a:gd name="connsiteX11" fmla="*/ 0 w 586802"/>
                <a:gd name="connsiteY11" fmla="*/ 1265 h 3802520"/>
                <a:gd name="connsiteX12" fmla="*/ 0 w 586802"/>
                <a:gd name="connsiteY12" fmla="*/ 2529 h 3802520"/>
                <a:gd name="connsiteX13" fmla="*/ 0 w 586802"/>
                <a:gd name="connsiteY13" fmla="*/ 3794 h 3802520"/>
                <a:gd name="connsiteX14" fmla="*/ 0 w 586802"/>
                <a:gd name="connsiteY14" fmla="*/ 5058 h 3802520"/>
                <a:gd name="connsiteX15" fmla="*/ 0 w 586802"/>
                <a:gd name="connsiteY15" fmla="*/ 6323 h 3802520"/>
                <a:gd name="connsiteX16" fmla="*/ 0 w 586802"/>
                <a:gd name="connsiteY16" fmla="*/ 8852 h 3802520"/>
                <a:gd name="connsiteX17" fmla="*/ 577950 w 586802"/>
                <a:gd name="connsiteY17" fmla="*/ 3802520 h 3802520"/>
                <a:gd name="connsiteX18" fmla="*/ 581744 w 586802"/>
                <a:gd name="connsiteY18" fmla="*/ 3796197 h 3802520"/>
                <a:gd name="connsiteX19" fmla="*/ 581744 w 586802"/>
                <a:gd name="connsiteY19" fmla="*/ 3796197 h 3802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86802" h="3802520">
                  <a:moveTo>
                    <a:pt x="581744" y="3796197"/>
                  </a:moveTo>
                  <a:cubicBezTo>
                    <a:pt x="584274" y="3796197"/>
                    <a:pt x="586803" y="3797462"/>
                    <a:pt x="586803" y="3799991"/>
                  </a:cubicBezTo>
                  <a:cubicBezTo>
                    <a:pt x="586803" y="3799991"/>
                    <a:pt x="586803" y="3799991"/>
                    <a:pt x="586803" y="3799991"/>
                  </a:cubicBezTo>
                  <a:lnTo>
                    <a:pt x="585538" y="3793668"/>
                  </a:lnTo>
                  <a:lnTo>
                    <a:pt x="10117" y="7587"/>
                  </a:lnTo>
                  <a:lnTo>
                    <a:pt x="8853" y="3794"/>
                  </a:lnTo>
                  <a:cubicBezTo>
                    <a:pt x="8853" y="1265"/>
                    <a:pt x="6323" y="0"/>
                    <a:pt x="3794" y="0"/>
                  </a:cubicBezTo>
                  <a:cubicBezTo>
                    <a:pt x="3794" y="0"/>
                    <a:pt x="3794" y="0"/>
                    <a:pt x="3794" y="0"/>
                  </a:cubicBezTo>
                  <a:lnTo>
                    <a:pt x="2529" y="0"/>
                  </a:lnTo>
                  <a:lnTo>
                    <a:pt x="1265" y="0"/>
                  </a:lnTo>
                  <a:cubicBezTo>
                    <a:pt x="1265" y="0"/>
                    <a:pt x="1265" y="0"/>
                    <a:pt x="0" y="0"/>
                  </a:cubicBezTo>
                  <a:cubicBezTo>
                    <a:pt x="0" y="0"/>
                    <a:pt x="0" y="0"/>
                    <a:pt x="0" y="1265"/>
                  </a:cubicBezTo>
                  <a:cubicBezTo>
                    <a:pt x="0" y="1265"/>
                    <a:pt x="0" y="1265"/>
                    <a:pt x="0" y="2529"/>
                  </a:cubicBezTo>
                  <a:cubicBezTo>
                    <a:pt x="0" y="2529"/>
                    <a:pt x="0" y="2529"/>
                    <a:pt x="0" y="3794"/>
                  </a:cubicBezTo>
                  <a:cubicBezTo>
                    <a:pt x="0" y="3794"/>
                    <a:pt x="0" y="3794"/>
                    <a:pt x="0" y="5058"/>
                  </a:cubicBezTo>
                  <a:lnTo>
                    <a:pt x="0" y="6323"/>
                  </a:lnTo>
                  <a:lnTo>
                    <a:pt x="0" y="8852"/>
                  </a:lnTo>
                  <a:lnTo>
                    <a:pt x="577950" y="3802520"/>
                  </a:lnTo>
                  <a:cubicBezTo>
                    <a:pt x="576686" y="3799991"/>
                    <a:pt x="577950" y="3797462"/>
                    <a:pt x="581744" y="3796197"/>
                  </a:cubicBezTo>
                  <a:cubicBezTo>
                    <a:pt x="580480" y="3796197"/>
                    <a:pt x="581744" y="3796197"/>
                    <a:pt x="581744" y="3796197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56A69362-3DD5-4271-9B61-3DB87662996C}"/>
                </a:ext>
              </a:extLst>
            </p:cNvPr>
            <p:cNvSpPr/>
            <p:nvPr/>
          </p:nvSpPr>
          <p:spPr>
            <a:xfrm>
              <a:off x="10142338" y="3894352"/>
              <a:ext cx="149230" cy="714970"/>
            </a:xfrm>
            <a:custGeom>
              <a:avLst/>
              <a:gdLst>
                <a:gd name="connsiteX0" fmla="*/ 146701 w 149230"/>
                <a:gd name="connsiteY0" fmla="*/ 714474 h 714970"/>
                <a:gd name="connsiteX1" fmla="*/ 147965 w 149230"/>
                <a:gd name="connsiteY1" fmla="*/ 714474 h 714970"/>
                <a:gd name="connsiteX2" fmla="*/ 149230 w 149230"/>
                <a:gd name="connsiteY2" fmla="*/ 714474 h 714970"/>
                <a:gd name="connsiteX3" fmla="*/ 149230 w 149230"/>
                <a:gd name="connsiteY3" fmla="*/ 714474 h 714970"/>
                <a:gd name="connsiteX4" fmla="*/ 149230 w 149230"/>
                <a:gd name="connsiteY4" fmla="*/ 713210 h 714970"/>
                <a:gd name="connsiteX5" fmla="*/ 149230 w 149230"/>
                <a:gd name="connsiteY5" fmla="*/ 711945 h 714970"/>
                <a:gd name="connsiteX6" fmla="*/ 149230 w 149230"/>
                <a:gd name="connsiteY6" fmla="*/ 710681 h 714970"/>
                <a:gd name="connsiteX7" fmla="*/ 149230 w 149230"/>
                <a:gd name="connsiteY7" fmla="*/ 709416 h 714970"/>
                <a:gd name="connsiteX8" fmla="*/ 149230 w 149230"/>
                <a:gd name="connsiteY8" fmla="*/ 709416 h 714970"/>
                <a:gd name="connsiteX9" fmla="*/ 149230 w 149230"/>
                <a:gd name="connsiteY9" fmla="*/ 706887 h 714970"/>
                <a:gd name="connsiteX10" fmla="*/ 10117 w 149230"/>
                <a:gd name="connsiteY10" fmla="*/ 7587 h 714970"/>
                <a:gd name="connsiteX11" fmla="*/ 1265 w 149230"/>
                <a:gd name="connsiteY11" fmla="*/ 2529 h 714970"/>
                <a:gd name="connsiteX12" fmla="*/ 1265 w 149230"/>
                <a:gd name="connsiteY12" fmla="*/ 2529 h 714970"/>
                <a:gd name="connsiteX13" fmla="*/ 0 w 149230"/>
                <a:gd name="connsiteY13" fmla="*/ 2529 h 714970"/>
                <a:gd name="connsiteX14" fmla="*/ 0 w 149230"/>
                <a:gd name="connsiteY14" fmla="*/ 2529 h 714970"/>
                <a:gd name="connsiteX15" fmla="*/ 0 w 149230"/>
                <a:gd name="connsiteY15" fmla="*/ 1265 h 714970"/>
                <a:gd name="connsiteX16" fmla="*/ 0 w 149230"/>
                <a:gd name="connsiteY16" fmla="*/ 0 h 714970"/>
                <a:gd name="connsiteX17" fmla="*/ 0 w 149230"/>
                <a:gd name="connsiteY17" fmla="*/ 0 h 714970"/>
                <a:gd name="connsiteX18" fmla="*/ 140378 w 149230"/>
                <a:gd name="connsiteY18" fmla="*/ 708151 h 714970"/>
                <a:gd name="connsiteX19" fmla="*/ 141642 w 149230"/>
                <a:gd name="connsiteY19" fmla="*/ 711945 h 714970"/>
                <a:gd name="connsiteX20" fmla="*/ 146701 w 149230"/>
                <a:gd name="connsiteY20" fmla="*/ 714474 h 714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49230" h="714970">
                  <a:moveTo>
                    <a:pt x="146701" y="714474"/>
                  </a:moveTo>
                  <a:cubicBezTo>
                    <a:pt x="146701" y="714474"/>
                    <a:pt x="147965" y="714474"/>
                    <a:pt x="147965" y="714474"/>
                  </a:cubicBezTo>
                  <a:lnTo>
                    <a:pt x="149230" y="714474"/>
                  </a:lnTo>
                  <a:lnTo>
                    <a:pt x="149230" y="714474"/>
                  </a:lnTo>
                  <a:cubicBezTo>
                    <a:pt x="149230" y="714474"/>
                    <a:pt x="149230" y="714474"/>
                    <a:pt x="149230" y="713210"/>
                  </a:cubicBezTo>
                  <a:lnTo>
                    <a:pt x="149230" y="711945"/>
                  </a:lnTo>
                  <a:cubicBezTo>
                    <a:pt x="149230" y="711945"/>
                    <a:pt x="149230" y="711945"/>
                    <a:pt x="149230" y="710681"/>
                  </a:cubicBezTo>
                  <a:lnTo>
                    <a:pt x="149230" y="709416"/>
                  </a:lnTo>
                  <a:lnTo>
                    <a:pt x="149230" y="709416"/>
                  </a:lnTo>
                  <a:lnTo>
                    <a:pt x="149230" y="706887"/>
                  </a:lnTo>
                  <a:lnTo>
                    <a:pt x="10117" y="7587"/>
                  </a:lnTo>
                  <a:lnTo>
                    <a:pt x="1265" y="2529"/>
                  </a:lnTo>
                  <a:lnTo>
                    <a:pt x="1265" y="2529"/>
                  </a:lnTo>
                  <a:lnTo>
                    <a:pt x="0" y="2529"/>
                  </a:lnTo>
                  <a:lnTo>
                    <a:pt x="0" y="2529"/>
                  </a:lnTo>
                  <a:lnTo>
                    <a:pt x="0" y="1265"/>
                  </a:lnTo>
                  <a:lnTo>
                    <a:pt x="0" y="0"/>
                  </a:lnTo>
                  <a:lnTo>
                    <a:pt x="0" y="0"/>
                  </a:lnTo>
                  <a:lnTo>
                    <a:pt x="140378" y="708151"/>
                  </a:lnTo>
                  <a:lnTo>
                    <a:pt x="141642" y="711945"/>
                  </a:lnTo>
                  <a:cubicBezTo>
                    <a:pt x="142907" y="714474"/>
                    <a:pt x="144171" y="715739"/>
                    <a:pt x="146701" y="714474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C213592A-A4E0-469D-BC03-4F3027C991C5}"/>
                </a:ext>
              </a:extLst>
            </p:cNvPr>
            <p:cNvSpPr/>
            <p:nvPr/>
          </p:nvSpPr>
          <p:spPr>
            <a:xfrm>
              <a:off x="9460686" y="2580478"/>
              <a:ext cx="477273" cy="2199062"/>
            </a:xfrm>
            <a:custGeom>
              <a:avLst/>
              <a:gdLst>
                <a:gd name="connsiteX0" fmla="*/ 471719 w 477273"/>
                <a:gd name="connsiteY0" fmla="*/ 2199063 h 2199062"/>
                <a:gd name="connsiteX1" fmla="*/ 474248 w 477273"/>
                <a:gd name="connsiteY1" fmla="*/ 2199063 h 2199062"/>
                <a:gd name="connsiteX2" fmla="*/ 474248 w 477273"/>
                <a:gd name="connsiteY2" fmla="*/ 2199063 h 2199062"/>
                <a:gd name="connsiteX3" fmla="*/ 476778 w 477273"/>
                <a:gd name="connsiteY3" fmla="*/ 2194005 h 2199062"/>
                <a:gd name="connsiteX4" fmla="*/ 475513 w 477273"/>
                <a:gd name="connsiteY4" fmla="*/ 2187682 h 2199062"/>
                <a:gd name="connsiteX5" fmla="*/ 8853 w 477273"/>
                <a:gd name="connsiteY5" fmla="*/ 0 h 2199062"/>
                <a:gd name="connsiteX6" fmla="*/ 5059 w 477273"/>
                <a:gd name="connsiteY6" fmla="*/ 1264 h 2199062"/>
                <a:gd name="connsiteX7" fmla="*/ 5059 w 477273"/>
                <a:gd name="connsiteY7" fmla="*/ 1264 h 2199062"/>
                <a:gd name="connsiteX8" fmla="*/ 5059 w 477273"/>
                <a:gd name="connsiteY8" fmla="*/ 1264 h 2199062"/>
                <a:gd name="connsiteX9" fmla="*/ 3794 w 477273"/>
                <a:gd name="connsiteY9" fmla="*/ 1264 h 2199062"/>
                <a:gd name="connsiteX10" fmla="*/ 2529 w 477273"/>
                <a:gd name="connsiteY10" fmla="*/ 1264 h 2199062"/>
                <a:gd name="connsiteX11" fmla="*/ 2529 w 477273"/>
                <a:gd name="connsiteY11" fmla="*/ 1264 h 2199062"/>
                <a:gd name="connsiteX12" fmla="*/ 0 w 477273"/>
                <a:gd name="connsiteY12" fmla="*/ 0 h 2199062"/>
                <a:gd name="connsiteX13" fmla="*/ 467925 w 477273"/>
                <a:gd name="connsiteY13" fmla="*/ 2195270 h 2199062"/>
                <a:gd name="connsiteX14" fmla="*/ 467925 w 477273"/>
                <a:gd name="connsiteY14" fmla="*/ 2195270 h 2199062"/>
                <a:gd name="connsiteX15" fmla="*/ 467925 w 477273"/>
                <a:gd name="connsiteY15" fmla="*/ 2195270 h 2199062"/>
                <a:gd name="connsiteX16" fmla="*/ 467925 w 477273"/>
                <a:gd name="connsiteY16" fmla="*/ 2196534 h 2199062"/>
                <a:gd name="connsiteX17" fmla="*/ 467925 w 477273"/>
                <a:gd name="connsiteY17" fmla="*/ 2196534 h 2199062"/>
                <a:gd name="connsiteX18" fmla="*/ 467925 w 477273"/>
                <a:gd name="connsiteY18" fmla="*/ 2196534 h 2199062"/>
                <a:gd name="connsiteX19" fmla="*/ 467925 w 477273"/>
                <a:gd name="connsiteY19" fmla="*/ 2196534 h 2199062"/>
                <a:gd name="connsiteX20" fmla="*/ 467925 w 477273"/>
                <a:gd name="connsiteY20" fmla="*/ 2196534 h 2199062"/>
                <a:gd name="connsiteX21" fmla="*/ 467925 w 477273"/>
                <a:gd name="connsiteY21" fmla="*/ 2196534 h 2199062"/>
                <a:gd name="connsiteX22" fmla="*/ 471719 w 477273"/>
                <a:gd name="connsiteY22" fmla="*/ 2199063 h 2199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77273" h="2199062">
                  <a:moveTo>
                    <a:pt x="471719" y="2199063"/>
                  </a:moveTo>
                  <a:lnTo>
                    <a:pt x="474248" y="2199063"/>
                  </a:lnTo>
                  <a:lnTo>
                    <a:pt x="474248" y="2199063"/>
                  </a:lnTo>
                  <a:cubicBezTo>
                    <a:pt x="476778" y="2197798"/>
                    <a:pt x="478042" y="2196534"/>
                    <a:pt x="476778" y="2194005"/>
                  </a:cubicBezTo>
                  <a:lnTo>
                    <a:pt x="475513" y="2187682"/>
                  </a:lnTo>
                  <a:lnTo>
                    <a:pt x="8853" y="0"/>
                  </a:lnTo>
                  <a:lnTo>
                    <a:pt x="5059" y="1264"/>
                  </a:lnTo>
                  <a:lnTo>
                    <a:pt x="5059" y="1264"/>
                  </a:lnTo>
                  <a:lnTo>
                    <a:pt x="5059" y="1264"/>
                  </a:lnTo>
                  <a:lnTo>
                    <a:pt x="3794" y="1264"/>
                  </a:lnTo>
                  <a:lnTo>
                    <a:pt x="2529" y="1264"/>
                  </a:lnTo>
                  <a:lnTo>
                    <a:pt x="2529" y="1264"/>
                  </a:lnTo>
                  <a:lnTo>
                    <a:pt x="0" y="0"/>
                  </a:lnTo>
                  <a:lnTo>
                    <a:pt x="467925" y="2195270"/>
                  </a:lnTo>
                  <a:lnTo>
                    <a:pt x="467925" y="2195270"/>
                  </a:lnTo>
                  <a:lnTo>
                    <a:pt x="467925" y="2195270"/>
                  </a:lnTo>
                  <a:cubicBezTo>
                    <a:pt x="467925" y="2195270"/>
                    <a:pt x="467925" y="2195270"/>
                    <a:pt x="467925" y="2196534"/>
                  </a:cubicBezTo>
                  <a:lnTo>
                    <a:pt x="467925" y="2196534"/>
                  </a:lnTo>
                  <a:lnTo>
                    <a:pt x="467925" y="2196534"/>
                  </a:lnTo>
                  <a:lnTo>
                    <a:pt x="467925" y="2196534"/>
                  </a:lnTo>
                  <a:lnTo>
                    <a:pt x="467925" y="2196534"/>
                  </a:lnTo>
                  <a:lnTo>
                    <a:pt x="467925" y="2196534"/>
                  </a:lnTo>
                  <a:lnTo>
                    <a:pt x="471719" y="2199063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5C959864-A517-4BC5-AE06-2C84782B43E9}"/>
                </a:ext>
              </a:extLst>
            </p:cNvPr>
            <p:cNvSpPr/>
            <p:nvPr/>
          </p:nvSpPr>
          <p:spPr>
            <a:xfrm>
              <a:off x="10142338" y="3890558"/>
              <a:ext cx="447690" cy="235730"/>
            </a:xfrm>
            <a:custGeom>
              <a:avLst/>
              <a:gdLst>
                <a:gd name="connsiteX0" fmla="*/ 10117 w 447690"/>
                <a:gd name="connsiteY0" fmla="*/ 11381 h 235730"/>
                <a:gd name="connsiteX1" fmla="*/ 438838 w 447690"/>
                <a:gd name="connsiteY1" fmla="*/ 233943 h 235730"/>
                <a:gd name="connsiteX2" fmla="*/ 441367 w 447690"/>
                <a:gd name="connsiteY2" fmla="*/ 235207 h 235730"/>
                <a:gd name="connsiteX3" fmla="*/ 447690 w 447690"/>
                <a:gd name="connsiteY3" fmla="*/ 233943 h 235730"/>
                <a:gd name="connsiteX4" fmla="*/ 447690 w 447690"/>
                <a:gd name="connsiteY4" fmla="*/ 233943 h 235730"/>
                <a:gd name="connsiteX5" fmla="*/ 447690 w 447690"/>
                <a:gd name="connsiteY5" fmla="*/ 230149 h 235730"/>
                <a:gd name="connsiteX6" fmla="*/ 447690 w 447690"/>
                <a:gd name="connsiteY6" fmla="*/ 228884 h 235730"/>
                <a:gd name="connsiteX7" fmla="*/ 447690 w 447690"/>
                <a:gd name="connsiteY7" fmla="*/ 227620 h 235730"/>
                <a:gd name="connsiteX8" fmla="*/ 447690 w 447690"/>
                <a:gd name="connsiteY8" fmla="*/ 227620 h 235730"/>
                <a:gd name="connsiteX9" fmla="*/ 446426 w 447690"/>
                <a:gd name="connsiteY9" fmla="*/ 227620 h 235730"/>
                <a:gd name="connsiteX10" fmla="*/ 446426 w 447690"/>
                <a:gd name="connsiteY10" fmla="*/ 227620 h 235730"/>
                <a:gd name="connsiteX11" fmla="*/ 443896 w 447690"/>
                <a:gd name="connsiteY11" fmla="*/ 226355 h 235730"/>
                <a:gd name="connsiteX12" fmla="*/ 7588 w 447690"/>
                <a:gd name="connsiteY12" fmla="*/ 0 h 235730"/>
                <a:gd name="connsiteX13" fmla="*/ 7588 w 447690"/>
                <a:gd name="connsiteY13" fmla="*/ 2529 h 235730"/>
                <a:gd name="connsiteX14" fmla="*/ 3794 w 447690"/>
                <a:gd name="connsiteY14" fmla="*/ 7587 h 235730"/>
                <a:gd name="connsiteX15" fmla="*/ 3794 w 447690"/>
                <a:gd name="connsiteY15" fmla="*/ 7587 h 235730"/>
                <a:gd name="connsiteX16" fmla="*/ 0 w 447690"/>
                <a:gd name="connsiteY16" fmla="*/ 7587 h 235730"/>
                <a:gd name="connsiteX17" fmla="*/ 0 w 447690"/>
                <a:gd name="connsiteY17" fmla="*/ 7587 h 235730"/>
                <a:gd name="connsiteX18" fmla="*/ 10117 w 447690"/>
                <a:gd name="connsiteY18" fmla="*/ 11381 h 235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47690" h="235730">
                  <a:moveTo>
                    <a:pt x="10117" y="11381"/>
                  </a:moveTo>
                  <a:lnTo>
                    <a:pt x="438838" y="233943"/>
                  </a:lnTo>
                  <a:lnTo>
                    <a:pt x="441367" y="235207"/>
                  </a:lnTo>
                  <a:cubicBezTo>
                    <a:pt x="443896" y="236472"/>
                    <a:pt x="446426" y="235207"/>
                    <a:pt x="447690" y="233943"/>
                  </a:cubicBezTo>
                  <a:cubicBezTo>
                    <a:pt x="447690" y="233943"/>
                    <a:pt x="447690" y="233943"/>
                    <a:pt x="447690" y="233943"/>
                  </a:cubicBezTo>
                  <a:cubicBezTo>
                    <a:pt x="447690" y="232678"/>
                    <a:pt x="447690" y="231414"/>
                    <a:pt x="447690" y="230149"/>
                  </a:cubicBezTo>
                  <a:lnTo>
                    <a:pt x="447690" y="228884"/>
                  </a:lnTo>
                  <a:lnTo>
                    <a:pt x="447690" y="227620"/>
                  </a:lnTo>
                  <a:lnTo>
                    <a:pt x="447690" y="227620"/>
                  </a:lnTo>
                  <a:lnTo>
                    <a:pt x="446426" y="227620"/>
                  </a:lnTo>
                  <a:lnTo>
                    <a:pt x="446426" y="227620"/>
                  </a:lnTo>
                  <a:lnTo>
                    <a:pt x="443896" y="226355"/>
                  </a:lnTo>
                  <a:lnTo>
                    <a:pt x="7588" y="0"/>
                  </a:lnTo>
                  <a:lnTo>
                    <a:pt x="7588" y="2529"/>
                  </a:lnTo>
                  <a:cubicBezTo>
                    <a:pt x="7588" y="5058"/>
                    <a:pt x="6323" y="7587"/>
                    <a:pt x="3794" y="7587"/>
                  </a:cubicBezTo>
                  <a:cubicBezTo>
                    <a:pt x="3794" y="7587"/>
                    <a:pt x="3794" y="7587"/>
                    <a:pt x="3794" y="7587"/>
                  </a:cubicBezTo>
                  <a:cubicBezTo>
                    <a:pt x="2529" y="7587"/>
                    <a:pt x="1265" y="7587"/>
                    <a:pt x="0" y="7587"/>
                  </a:cubicBezTo>
                  <a:lnTo>
                    <a:pt x="0" y="7587"/>
                  </a:lnTo>
                  <a:lnTo>
                    <a:pt x="10117" y="11381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FD6111D2-9CB4-409B-B160-39E9AF58ADDF}"/>
                </a:ext>
              </a:extLst>
            </p:cNvPr>
            <p:cNvSpPr/>
            <p:nvPr/>
          </p:nvSpPr>
          <p:spPr>
            <a:xfrm>
              <a:off x="9860319" y="2428731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519C5CA1-5FCA-4AAD-B166-E610A1F39BFB}"/>
                </a:ext>
              </a:extLst>
            </p:cNvPr>
            <p:cNvSpPr/>
            <p:nvPr/>
          </p:nvSpPr>
          <p:spPr>
            <a:xfrm>
              <a:off x="9611180" y="2323773"/>
              <a:ext cx="247873" cy="104958"/>
            </a:xfrm>
            <a:custGeom>
              <a:avLst/>
              <a:gdLst>
                <a:gd name="connsiteX0" fmla="*/ 3794 w 247873"/>
                <a:gd name="connsiteY0" fmla="*/ 2529 h 104958"/>
                <a:gd name="connsiteX1" fmla="*/ 1265 w 247873"/>
                <a:gd name="connsiteY1" fmla="*/ 8852 h 104958"/>
                <a:gd name="connsiteX2" fmla="*/ 0 w 247873"/>
                <a:gd name="connsiteY2" fmla="*/ 8852 h 104958"/>
                <a:gd name="connsiteX3" fmla="*/ 232698 w 247873"/>
                <a:gd name="connsiteY3" fmla="*/ 104958 h 104958"/>
                <a:gd name="connsiteX4" fmla="*/ 244080 w 247873"/>
                <a:gd name="connsiteY4" fmla="*/ 101164 h 104958"/>
                <a:gd name="connsiteX5" fmla="*/ 246609 w 247873"/>
                <a:gd name="connsiteY5" fmla="*/ 101164 h 104958"/>
                <a:gd name="connsiteX6" fmla="*/ 247874 w 247873"/>
                <a:gd name="connsiteY6" fmla="*/ 101164 h 104958"/>
                <a:gd name="connsiteX7" fmla="*/ 247874 w 247873"/>
                <a:gd name="connsiteY7" fmla="*/ 101164 h 104958"/>
                <a:gd name="connsiteX8" fmla="*/ 3794 w 247873"/>
                <a:gd name="connsiteY8" fmla="*/ 0 h 104958"/>
                <a:gd name="connsiteX9" fmla="*/ 2529 w 247873"/>
                <a:gd name="connsiteY9" fmla="*/ 0 h 104958"/>
                <a:gd name="connsiteX10" fmla="*/ 3794 w 247873"/>
                <a:gd name="connsiteY10" fmla="*/ 2529 h 104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7873" h="104958">
                  <a:moveTo>
                    <a:pt x="3794" y="2529"/>
                  </a:moveTo>
                  <a:cubicBezTo>
                    <a:pt x="5059" y="5058"/>
                    <a:pt x="3794" y="7587"/>
                    <a:pt x="1265" y="8852"/>
                  </a:cubicBezTo>
                  <a:lnTo>
                    <a:pt x="0" y="8852"/>
                  </a:lnTo>
                  <a:lnTo>
                    <a:pt x="232698" y="104958"/>
                  </a:lnTo>
                  <a:lnTo>
                    <a:pt x="244080" y="101164"/>
                  </a:lnTo>
                  <a:lnTo>
                    <a:pt x="246609" y="101164"/>
                  </a:lnTo>
                  <a:lnTo>
                    <a:pt x="247874" y="101164"/>
                  </a:lnTo>
                  <a:lnTo>
                    <a:pt x="247874" y="101164"/>
                  </a:lnTo>
                  <a:lnTo>
                    <a:pt x="3794" y="0"/>
                  </a:lnTo>
                  <a:lnTo>
                    <a:pt x="2529" y="0"/>
                  </a:lnTo>
                  <a:cubicBezTo>
                    <a:pt x="2529" y="0"/>
                    <a:pt x="3794" y="1264"/>
                    <a:pt x="3794" y="2529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190ED717-9703-4C40-9971-A5527E250D16}"/>
                </a:ext>
              </a:extLst>
            </p:cNvPr>
            <p:cNvSpPr/>
            <p:nvPr/>
          </p:nvSpPr>
          <p:spPr>
            <a:xfrm>
              <a:off x="9859054" y="2426202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D8FD26BE-31FF-4DDC-A764-C2E8BAB54ADD}"/>
                </a:ext>
              </a:extLst>
            </p:cNvPr>
            <p:cNvSpPr/>
            <p:nvPr/>
          </p:nvSpPr>
          <p:spPr>
            <a:xfrm>
              <a:off x="9465744" y="2426202"/>
              <a:ext cx="390780" cy="155540"/>
            </a:xfrm>
            <a:custGeom>
              <a:avLst/>
              <a:gdLst>
                <a:gd name="connsiteX0" fmla="*/ 1265 w 390780"/>
                <a:gd name="connsiteY0" fmla="*/ 146689 h 155540"/>
                <a:gd name="connsiteX1" fmla="*/ 3794 w 390780"/>
                <a:gd name="connsiteY1" fmla="*/ 153011 h 155540"/>
                <a:gd name="connsiteX2" fmla="*/ 3794 w 390780"/>
                <a:gd name="connsiteY2" fmla="*/ 153011 h 155540"/>
                <a:gd name="connsiteX3" fmla="*/ 1265 w 390780"/>
                <a:gd name="connsiteY3" fmla="*/ 155540 h 155540"/>
                <a:gd name="connsiteX4" fmla="*/ 5059 w 390780"/>
                <a:gd name="connsiteY4" fmla="*/ 154276 h 155540"/>
                <a:gd name="connsiteX5" fmla="*/ 388251 w 390780"/>
                <a:gd name="connsiteY5" fmla="*/ 10116 h 155540"/>
                <a:gd name="connsiteX6" fmla="*/ 386986 w 390780"/>
                <a:gd name="connsiteY6" fmla="*/ 5058 h 155540"/>
                <a:gd name="connsiteX7" fmla="*/ 390780 w 390780"/>
                <a:gd name="connsiteY7" fmla="*/ 0 h 155540"/>
                <a:gd name="connsiteX8" fmla="*/ 390780 w 390780"/>
                <a:gd name="connsiteY8" fmla="*/ 0 h 155540"/>
                <a:gd name="connsiteX9" fmla="*/ 379399 w 390780"/>
                <a:gd name="connsiteY9" fmla="*/ 3794 h 155540"/>
                <a:gd name="connsiteX10" fmla="*/ 0 w 390780"/>
                <a:gd name="connsiteY10" fmla="*/ 147953 h 155540"/>
                <a:gd name="connsiteX11" fmla="*/ 1265 w 390780"/>
                <a:gd name="connsiteY11" fmla="*/ 147953 h 155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90780" h="155540">
                  <a:moveTo>
                    <a:pt x="1265" y="146689"/>
                  </a:moveTo>
                  <a:cubicBezTo>
                    <a:pt x="3794" y="147953"/>
                    <a:pt x="5059" y="150482"/>
                    <a:pt x="3794" y="153011"/>
                  </a:cubicBezTo>
                  <a:cubicBezTo>
                    <a:pt x="3794" y="153011"/>
                    <a:pt x="3794" y="153011"/>
                    <a:pt x="3794" y="153011"/>
                  </a:cubicBezTo>
                  <a:cubicBezTo>
                    <a:pt x="3794" y="154276"/>
                    <a:pt x="2529" y="155540"/>
                    <a:pt x="1265" y="155540"/>
                  </a:cubicBezTo>
                  <a:lnTo>
                    <a:pt x="5059" y="154276"/>
                  </a:lnTo>
                  <a:lnTo>
                    <a:pt x="388251" y="10116"/>
                  </a:lnTo>
                  <a:lnTo>
                    <a:pt x="386986" y="5058"/>
                  </a:lnTo>
                  <a:cubicBezTo>
                    <a:pt x="386986" y="2529"/>
                    <a:pt x="388251" y="0"/>
                    <a:pt x="390780" y="0"/>
                  </a:cubicBezTo>
                  <a:lnTo>
                    <a:pt x="390780" y="0"/>
                  </a:lnTo>
                  <a:lnTo>
                    <a:pt x="379399" y="3794"/>
                  </a:lnTo>
                  <a:lnTo>
                    <a:pt x="0" y="147953"/>
                  </a:lnTo>
                  <a:lnTo>
                    <a:pt x="1265" y="147953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20456AA5-F34A-48AF-B01C-13A340E7B8B6}"/>
                </a:ext>
              </a:extLst>
            </p:cNvPr>
            <p:cNvSpPr/>
            <p:nvPr/>
          </p:nvSpPr>
          <p:spPr>
            <a:xfrm>
              <a:off x="9465744" y="2581742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ED8EF453-B590-491E-B870-000DF7AEBB3A}"/>
                </a:ext>
              </a:extLst>
            </p:cNvPr>
            <p:cNvSpPr/>
            <p:nvPr/>
          </p:nvSpPr>
          <p:spPr>
            <a:xfrm>
              <a:off x="9859054" y="2427467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9326BD7A-9A99-4C53-8F90-B5543BC79E5F}"/>
                </a:ext>
              </a:extLst>
            </p:cNvPr>
            <p:cNvSpPr/>
            <p:nvPr/>
          </p:nvSpPr>
          <p:spPr>
            <a:xfrm>
              <a:off x="9860319" y="2428731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  <a:gd name="connsiteX4" fmla="*/ 0 w 12646"/>
                <a:gd name="connsiteY4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C6880A75-21C5-43CC-9B81-9CA4CB1DE0FD}"/>
                </a:ext>
              </a:extLst>
            </p:cNvPr>
            <p:cNvSpPr/>
            <p:nvPr/>
          </p:nvSpPr>
          <p:spPr>
            <a:xfrm>
              <a:off x="9857789" y="2426202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E881B885-DC4A-449C-81D3-65DB5E6526D4}"/>
                </a:ext>
              </a:extLst>
            </p:cNvPr>
            <p:cNvSpPr/>
            <p:nvPr/>
          </p:nvSpPr>
          <p:spPr>
            <a:xfrm>
              <a:off x="9219135" y="2469197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  <a:gd name="connsiteX4" fmla="*/ 0 w 12646"/>
                <a:gd name="connsiteY4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39D1E256-B706-47EB-A251-E67F9323D382}"/>
                </a:ext>
              </a:extLst>
            </p:cNvPr>
            <p:cNvSpPr/>
            <p:nvPr/>
          </p:nvSpPr>
          <p:spPr>
            <a:xfrm>
              <a:off x="9219135" y="2470461"/>
              <a:ext cx="12646" cy="562"/>
            </a:xfrm>
            <a:custGeom>
              <a:avLst/>
              <a:gdLst>
                <a:gd name="connsiteX0" fmla="*/ 0 w 12646"/>
                <a:gd name="connsiteY0" fmla="*/ 0 h 562"/>
                <a:gd name="connsiteX1" fmla="*/ 0 w 12646"/>
                <a:gd name="connsiteY1" fmla="*/ 0 h 562"/>
                <a:gd name="connsiteX2" fmla="*/ 0 w 12646"/>
                <a:gd name="connsiteY2" fmla="*/ 0 h 562"/>
                <a:gd name="connsiteX3" fmla="*/ 0 w 12646"/>
                <a:gd name="connsiteY3" fmla="*/ 0 h 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56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ubicBezTo>
                    <a:pt x="0" y="1265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EC689689-2A4C-4B9D-A2BA-69167F7F42CC}"/>
                </a:ext>
              </a:extLst>
            </p:cNvPr>
            <p:cNvSpPr/>
            <p:nvPr/>
          </p:nvSpPr>
          <p:spPr>
            <a:xfrm>
              <a:off x="9221665" y="2466668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77AD66D2-B768-4576-AE88-44A51C5BFC4B}"/>
                </a:ext>
              </a:extLst>
            </p:cNvPr>
            <p:cNvSpPr/>
            <p:nvPr/>
          </p:nvSpPr>
          <p:spPr>
            <a:xfrm>
              <a:off x="9220400" y="2467932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05B8F631-758E-4240-B884-FE02B9F5D55A}"/>
                </a:ext>
              </a:extLst>
            </p:cNvPr>
            <p:cNvSpPr/>
            <p:nvPr/>
          </p:nvSpPr>
          <p:spPr>
            <a:xfrm>
              <a:off x="9230517" y="2470461"/>
              <a:ext cx="238252" cy="111280"/>
            </a:xfrm>
            <a:custGeom>
              <a:avLst/>
              <a:gdLst>
                <a:gd name="connsiteX0" fmla="*/ 232698 w 238252"/>
                <a:gd name="connsiteY0" fmla="*/ 111281 h 111280"/>
                <a:gd name="connsiteX1" fmla="*/ 232698 w 238252"/>
                <a:gd name="connsiteY1" fmla="*/ 111281 h 111280"/>
                <a:gd name="connsiteX2" fmla="*/ 232698 w 238252"/>
                <a:gd name="connsiteY2" fmla="*/ 111281 h 111280"/>
                <a:gd name="connsiteX3" fmla="*/ 235227 w 238252"/>
                <a:gd name="connsiteY3" fmla="*/ 111281 h 111280"/>
                <a:gd name="connsiteX4" fmla="*/ 235227 w 238252"/>
                <a:gd name="connsiteY4" fmla="*/ 111281 h 111280"/>
                <a:gd name="connsiteX5" fmla="*/ 235227 w 238252"/>
                <a:gd name="connsiteY5" fmla="*/ 111281 h 111280"/>
                <a:gd name="connsiteX6" fmla="*/ 237756 w 238252"/>
                <a:gd name="connsiteY6" fmla="*/ 108752 h 111280"/>
                <a:gd name="connsiteX7" fmla="*/ 235227 w 238252"/>
                <a:gd name="connsiteY7" fmla="*/ 102429 h 111280"/>
                <a:gd name="connsiteX8" fmla="*/ 235227 w 238252"/>
                <a:gd name="connsiteY8" fmla="*/ 102429 h 111280"/>
                <a:gd name="connsiteX9" fmla="*/ 233962 w 238252"/>
                <a:gd name="connsiteY9" fmla="*/ 101164 h 111280"/>
                <a:gd name="connsiteX10" fmla="*/ 6323 w 238252"/>
                <a:gd name="connsiteY10" fmla="*/ 0 h 111280"/>
                <a:gd name="connsiteX11" fmla="*/ 0 w 238252"/>
                <a:gd name="connsiteY11" fmla="*/ 2529 h 111280"/>
                <a:gd name="connsiteX12" fmla="*/ 1265 w 238252"/>
                <a:gd name="connsiteY12" fmla="*/ 7587 h 111280"/>
                <a:gd name="connsiteX13" fmla="*/ 231433 w 238252"/>
                <a:gd name="connsiteY13" fmla="*/ 110017 h 111280"/>
                <a:gd name="connsiteX14" fmla="*/ 232698 w 238252"/>
                <a:gd name="connsiteY14" fmla="*/ 111281 h 11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8252" h="111280">
                  <a:moveTo>
                    <a:pt x="232698" y="111281"/>
                  </a:moveTo>
                  <a:lnTo>
                    <a:pt x="232698" y="111281"/>
                  </a:lnTo>
                  <a:lnTo>
                    <a:pt x="232698" y="111281"/>
                  </a:lnTo>
                  <a:lnTo>
                    <a:pt x="235227" y="111281"/>
                  </a:lnTo>
                  <a:lnTo>
                    <a:pt x="235227" y="111281"/>
                  </a:lnTo>
                  <a:lnTo>
                    <a:pt x="235227" y="111281"/>
                  </a:lnTo>
                  <a:cubicBezTo>
                    <a:pt x="236492" y="111281"/>
                    <a:pt x="237756" y="110017"/>
                    <a:pt x="237756" y="108752"/>
                  </a:cubicBezTo>
                  <a:cubicBezTo>
                    <a:pt x="239021" y="106223"/>
                    <a:pt x="237756" y="103694"/>
                    <a:pt x="235227" y="102429"/>
                  </a:cubicBezTo>
                  <a:cubicBezTo>
                    <a:pt x="235227" y="102429"/>
                    <a:pt x="235227" y="102429"/>
                    <a:pt x="235227" y="102429"/>
                  </a:cubicBezTo>
                  <a:lnTo>
                    <a:pt x="233962" y="101164"/>
                  </a:lnTo>
                  <a:lnTo>
                    <a:pt x="6323" y="0"/>
                  </a:lnTo>
                  <a:lnTo>
                    <a:pt x="0" y="2529"/>
                  </a:lnTo>
                  <a:lnTo>
                    <a:pt x="1265" y="7587"/>
                  </a:lnTo>
                  <a:lnTo>
                    <a:pt x="231433" y="110017"/>
                  </a:lnTo>
                  <a:lnTo>
                    <a:pt x="232698" y="111281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C164C04F-ABEB-4FAB-948D-4DAC86E6BBA5}"/>
                </a:ext>
              </a:extLst>
            </p:cNvPr>
            <p:cNvSpPr/>
            <p:nvPr/>
          </p:nvSpPr>
          <p:spPr>
            <a:xfrm>
              <a:off x="11587847" y="4927494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66B11188-39FC-4DA9-872A-0CB14226C9ED}"/>
                </a:ext>
              </a:extLst>
            </p:cNvPr>
            <p:cNvSpPr/>
            <p:nvPr/>
          </p:nvSpPr>
          <p:spPr>
            <a:xfrm>
              <a:off x="11590376" y="4930023"/>
              <a:ext cx="25293" cy="17703"/>
            </a:xfrm>
            <a:custGeom>
              <a:avLst/>
              <a:gdLst>
                <a:gd name="connsiteX0" fmla="*/ 10117 w 25293"/>
                <a:gd name="connsiteY0" fmla="*/ 1265 h 17703"/>
                <a:gd name="connsiteX1" fmla="*/ 10117 w 25293"/>
                <a:gd name="connsiteY1" fmla="*/ 1265 h 17703"/>
                <a:gd name="connsiteX2" fmla="*/ 5059 w 25293"/>
                <a:gd name="connsiteY2" fmla="*/ 3794 h 17703"/>
                <a:gd name="connsiteX3" fmla="*/ 0 w 25293"/>
                <a:gd name="connsiteY3" fmla="*/ 3794 h 17703"/>
                <a:gd name="connsiteX4" fmla="*/ 0 w 25293"/>
                <a:gd name="connsiteY4" fmla="*/ 3794 h 17703"/>
                <a:gd name="connsiteX5" fmla="*/ 25293 w 25293"/>
                <a:gd name="connsiteY5" fmla="*/ 17704 h 17703"/>
                <a:gd name="connsiteX6" fmla="*/ 25293 w 25293"/>
                <a:gd name="connsiteY6" fmla="*/ 15175 h 17703"/>
                <a:gd name="connsiteX7" fmla="*/ 24028 w 25293"/>
                <a:gd name="connsiteY7" fmla="*/ 8852 h 17703"/>
                <a:gd name="connsiteX8" fmla="*/ 24028 w 25293"/>
                <a:gd name="connsiteY8" fmla="*/ 8852 h 17703"/>
                <a:gd name="connsiteX9" fmla="*/ 24028 w 25293"/>
                <a:gd name="connsiteY9" fmla="*/ 6323 h 17703"/>
                <a:gd name="connsiteX10" fmla="*/ 12647 w 25293"/>
                <a:gd name="connsiteY10" fmla="*/ 0 h 17703"/>
                <a:gd name="connsiteX11" fmla="*/ 10117 w 25293"/>
                <a:gd name="connsiteY11" fmla="*/ 1265 h 17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293" h="17703">
                  <a:moveTo>
                    <a:pt x="10117" y="1265"/>
                  </a:moveTo>
                  <a:lnTo>
                    <a:pt x="10117" y="1265"/>
                  </a:lnTo>
                  <a:lnTo>
                    <a:pt x="5059" y="3794"/>
                  </a:lnTo>
                  <a:cubicBezTo>
                    <a:pt x="3794" y="5058"/>
                    <a:pt x="1265" y="5058"/>
                    <a:pt x="0" y="3794"/>
                  </a:cubicBezTo>
                  <a:lnTo>
                    <a:pt x="0" y="3794"/>
                  </a:lnTo>
                  <a:lnTo>
                    <a:pt x="25293" y="17704"/>
                  </a:lnTo>
                  <a:lnTo>
                    <a:pt x="25293" y="15175"/>
                  </a:lnTo>
                  <a:lnTo>
                    <a:pt x="24028" y="8852"/>
                  </a:lnTo>
                  <a:lnTo>
                    <a:pt x="24028" y="8852"/>
                  </a:lnTo>
                  <a:lnTo>
                    <a:pt x="24028" y="6323"/>
                  </a:lnTo>
                  <a:lnTo>
                    <a:pt x="12647" y="0"/>
                  </a:lnTo>
                  <a:lnTo>
                    <a:pt x="10117" y="1265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1BE2B2A2-4207-4DAE-8B50-1008D6CFA3D8}"/>
                </a:ext>
              </a:extLst>
            </p:cNvPr>
            <p:cNvSpPr/>
            <p:nvPr/>
          </p:nvSpPr>
          <p:spPr>
            <a:xfrm>
              <a:off x="11553701" y="4902203"/>
              <a:ext cx="42998" cy="24026"/>
            </a:xfrm>
            <a:custGeom>
              <a:avLst/>
              <a:gdLst>
                <a:gd name="connsiteX0" fmla="*/ 2529 w 42998"/>
                <a:gd name="connsiteY0" fmla="*/ 7587 h 24026"/>
                <a:gd name="connsiteX1" fmla="*/ 2529 w 42998"/>
                <a:gd name="connsiteY1" fmla="*/ 7587 h 24026"/>
                <a:gd name="connsiteX2" fmla="*/ 2529 w 42998"/>
                <a:gd name="connsiteY2" fmla="*/ 7587 h 24026"/>
                <a:gd name="connsiteX3" fmla="*/ 2529 w 42998"/>
                <a:gd name="connsiteY3" fmla="*/ 7587 h 24026"/>
                <a:gd name="connsiteX4" fmla="*/ 5059 w 42998"/>
                <a:gd name="connsiteY4" fmla="*/ 8852 h 24026"/>
                <a:gd name="connsiteX5" fmla="*/ 34146 w 42998"/>
                <a:gd name="connsiteY5" fmla="*/ 24026 h 24026"/>
                <a:gd name="connsiteX6" fmla="*/ 35410 w 42998"/>
                <a:gd name="connsiteY6" fmla="*/ 22762 h 24026"/>
                <a:gd name="connsiteX7" fmla="*/ 40469 w 42998"/>
                <a:gd name="connsiteY7" fmla="*/ 20233 h 24026"/>
                <a:gd name="connsiteX8" fmla="*/ 40469 w 42998"/>
                <a:gd name="connsiteY8" fmla="*/ 20233 h 24026"/>
                <a:gd name="connsiteX9" fmla="*/ 42998 w 42998"/>
                <a:gd name="connsiteY9" fmla="*/ 18968 h 24026"/>
                <a:gd name="connsiteX10" fmla="*/ 10117 w 42998"/>
                <a:gd name="connsiteY10" fmla="*/ 1264 h 24026"/>
                <a:gd name="connsiteX11" fmla="*/ 8853 w 42998"/>
                <a:gd name="connsiteY11" fmla="*/ 0 h 24026"/>
                <a:gd name="connsiteX12" fmla="*/ 5059 w 42998"/>
                <a:gd name="connsiteY12" fmla="*/ 3794 h 24026"/>
                <a:gd name="connsiteX13" fmla="*/ 0 w 42998"/>
                <a:gd name="connsiteY13" fmla="*/ 2529 h 24026"/>
                <a:gd name="connsiteX14" fmla="*/ 2529 w 42998"/>
                <a:gd name="connsiteY14" fmla="*/ 7587 h 24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2998" h="24026">
                  <a:moveTo>
                    <a:pt x="2529" y="7587"/>
                  </a:moveTo>
                  <a:lnTo>
                    <a:pt x="2529" y="7587"/>
                  </a:lnTo>
                  <a:lnTo>
                    <a:pt x="2529" y="7587"/>
                  </a:lnTo>
                  <a:lnTo>
                    <a:pt x="2529" y="7587"/>
                  </a:lnTo>
                  <a:lnTo>
                    <a:pt x="5059" y="8852"/>
                  </a:lnTo>
                  <a:lnTo>
                    <a:pt x="34146" y="24026"/>
                  </a:lnTo>
                  <a:cubicBezTo>
                    <a:pt x="34146" y="24026"/>
                    <a:pt x="35410" y="22762"/>
                    <a:pt x="35410" y="22762"/>
                  </a:cubicBezTo>
                  <a:lnTo>
                    <a:pt x="40469" y="20233"/>
                  </a:lnTo>
                  <a:lnTo>
                    <a:pt x="40469" y="20233"/>
                  </a:lnTo>
                  <a:lnTo>
                    <a:pt x="42998" y="18968"/>
                  </a:lnTo>
                  <a:lnTo>
                    <a:pt x="10117" y="1264"/>
                  </a:lnTo>
                  <a:lnTo>
                    <a:pt x="8853" y="0"/>
                  </a:lnTo>
                  <a:cubicBezTo>
                    <a:pt x="8853" y="2529"/>
                    <a:pt x="7588" y="3794"/>
                    <a:pt x="5059" y="3794"/>
                  </a:cubicBezTo>
                  <a:cubicBezTo>
                    <a:pt x="3794" y="3794"/>
                    <a:pt x="1265" y="3794"/>
                    <a:pt x="0" y="2529"/>
                  </a:cubicBezTo>
                  <a:cubicBezTo>
                    <a:pt x="0" y="3794"/>
                    <a:pt x="0" y="6323"/>
                    <a:pt x="2529" y="7587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DF6C2A52-5D5E-49BE-BBDF-AD625FCCA2F2}"/>
                </a:ext>
              </a:extLst>
            </p:cNvPr>
            <p:cNvSpPr/>
            <p:nvPr/>
          </p:nvSpPr>
          <p:spPr>
            <a:xfrm>
              <a:off x="11587847" y="4922435"/>
              <a:ext cx="11381" cy="11065"/>
            </a:xfrm>
            <a:custGeom>
              <a:avLst/>
              <a:gdLst>
                <a:gd name="connsiteX0" fmla="*/ 0 w 11381"/>
                <a:gd name="connsiteY0" fmla="*/ 6323 h 11065"/>
                <a:gd name="connsiteX1" fmla="*/ 0 w 11381"/>
                <a:gd name="connsiteY1" fmla="*/ 6323 h 11065"/>
                <a:gd name="connsiteX2" fmla="*/ 0 w 11381"/>
                <a:gd name="connsiteY2" fmla="*/ 8852 h 11065"/>
                <a:gd name="connsiteX3" fmla="*/ 0 w 11381"/>
                <a:gd name="connsiteY3" fmla="*/ 10117 h 11065"/>
                <a:gd name="connsiteX4" fmla="*/ 0 w 11381"/>
                <a:gd name="connsiteY4" fmla="*/ 10117 h 11065"/>
                <a:gd name="connsiteX5" fmla="*/ 0 w 11381"/>
                <a:gd name="connsiteY5" fmla="*/ 10117 h 11065"/>
                <a:gd name="connsiteX6" fmla="*/ 0 w 11381"/>
                <a:gd name="connsiteY6" fmla="*/ 10117 h 11065"/>
                <a:gd name="connsiteX7" fmla="*/ 1265 w 11381"/>
                <a:gd name="connsiteY7" fmla="*/ 10117 h 11065"/>
                <a:gd name="connsiteX8" fmla="*/ 6323 w 11381"/>
                <a:gd name="connsiteY8" fmla="*/ 10117 h 11065"/>
                <a:gd name="connsiteX9" fmla="*/ 11382 w 11381"/>
                <a:gd name="connsiteY9" fmla="*/ 7587 h 11065"/>
                <a:gd name="connsiteX10" fmla="*/ 11382 w 11381"/>
                <a:gd name="connsiteY10" fmla="*/ 7587 h 11065"/>
                <a:gd name="connsiteX11" fmla="*/ 5059 w 11381"/>
                <a:gd name="connsiteY11" fmla="*/ 6323 h 11065"/>
                <a:gd name="connsiteX12" fmla="*/ 7588 w 11381"/>
                <a:gd name="connsiteY12" fmla="*/ 0 h 11065"/>
                <a:gd name="connsiteX13" fmla="*/ 7588 w 11381"/>
                <a:gd name="connsiteY13" fmla="*/ 0 h 11065"/>
                <a:gd name="connsiteX14" fmla="*/ 7588 w 11381"/>
                <a:gd name="connsiteY14" fmla="*/ 0 h 11065"/>
                <a:gd name="connsiteX15" fmla="*/ 2529 w 11381"/>
                <a:gd name="connsiteY15" fmla="*/ 2529 h 11065"/>
                <a:gd name="connsiteX16" fmla="*/ 1265 w 11381"/>
                <a:gd name="connsiteY16" fmla="*/ 3794 h 11065"/>
                <a:gd name="connsiteX17" fmla="*/ 1265 w 11381"/>
                <a:gd name="connsiteY17" fmla="*/ 3794 h 11065"/>
                <a:gd name="connsiteX18" fmla="*/ 0 w 11381"/>
                <a:gd name="connsiteY18" fmla="*/ 6323 h 11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381" h="11065">
                  <a:moveTo>
                    <a:pt x="0" y="6323"/>
                  </a:moveTo>
                  <a:lnTo>
                    <a:pt x="0" y="6323"/>
                  </a:lnTo>
                  <a:lnTo>
                    <a:pt x="0" y="8852"/>
                  </a:lnTo>
                  <a:cubicBezTo>
                    <a:pt x="0" y="8852"/>
                    <a:pt x="0" y="8852"/>
                    <a:pt x="0" y="10117"/>
                  </a:cubicBezTo>
                  <a:lnTo>
                    <a:pt x="0" y="10117"/>
                  </a:lnTo>
                  <a:lnTo>
                    <a:pt x="0" y="10117"/>
                  </a:lnTo>
                  <a:cubicBezTo>
                    <a:pt x="0" y="10117"/>
                    <a:pt x="0" y="10117"/>
                    <a:pt x="0" y="10117"/>
                  </a:cubicBezTo>
                  <a:lnTo>
                    <a:pt x="1265" y="10117"/>
                  </a:lnTo>
                  <a:cubicBezTo>
                    <a:pt x="2529" y="11381"/>
                    <a:pt x="5059" y="11381"/>
                    <a:pt x="6323" y="10117"/>
                  </a:cubicBezTo>
                  <a:lnTo>
                    <a:pt x="11382" y="7587"/>
                  </a:lnTo>
                  <a:lnTo>
                    <a:pt x="11382" y="7587"/>
                  </a:lnTo>
                  <a:cubicBezTo>
                    <a:pt x="8853" y="8852"/>
                    <a:pt x="6323" y="7587"/>
                    <a:pt x="5059" y="6323"/>
                  </a:cubicBezTo>
                  <a:cubicBezTo>
                    <a:pt x="3794" y="3794"/>
                    <a:pt x="5059" y="1265"/>
                    <a:pt x="7588" y="0"/>
                  </a:cubicBezTo>
                  <a:lnTo>
                    <a:pt x="7588" y="0"/>
                  </a:lnTo>
                  <a:lnTo>
                    <a:pt x="7588" y="0"/>
                  </a:lnTo>
                  <a:lnTo>
                    <a:pt x="2529" y="2529"/>
                  </a:lnTo>
                  <a:cubicBezTo>
                    <a:pt x="2529" y="2529"/>
                    <a:pt x="1265" y="3794"/>
                    <a:pt x="1265" y="3794"/>
                  </a:cubicBezTo>
                  <a:lnTo>
                    <a:pt x="1265" y="3794"/>
                  </a:lnTo>
                  <a:cubicBezTo>
                    <a:pt x="0" y="3794"/>
                    <a:pt x="0" y="6323"/>
                    <a:pt x="0" y="6323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C48C81E4-9C86-4B83-ACE7-7FD91DBEC72D}"/>
                </a:ext>
              </a:extLst>
            </p:cNvPr>
            <p:cNvSpPr/>
            <p:nvPr/>
          </p:nvSpPr>
          <p:spPr>
            <a:xfrm>
              <a:off x="12211325" y="3771689"/>
              <a:ext cx="5058" cy="6322"/>
            </a:xfrm>
            <a:custGeom>
              <a:avLst/>
              <a:gdLst>
                <a:gd name="connsiteX0" fmla="*/ 3794 w 5058"/>
                <a:gd name="connsiteY0" fmla="*/ 3794 h 6322"/>
                <a:gd name="connsiteX1" fmla="*/ 3794 w 5058"/>
                <a:gd name="connsiteY1" fmla="*/ 3794 h 6322"/>
                <a:gd name="connsiteX2" fmla="*/ 3794 w 5058"/>
                <a:gd name="connsiteY2" fmla="*/ 3794 h 6322"/>
                <a:gd name="connsiteX3" fmla="*/ 3794 w 5058"/>
                <a:gd name="connsiteY3" fmla="*/ 3794 h 6322"/>
                <a:gd name="connsiteX4" fmla="*/ 5059 w 5058"/>
                <a:gd name="connsiteY4" fmla="*/ 5059 h 6322"/>
                <a:gd name="connsiteX5" fmla="*/ 5059 w 5058"/>
                <a:gd name="connsiteY5" fmla="*/ 6323 h 6322"/>
                <a:gd name="connsiteX6" fmla="*/ 5059 w 5058"/>
                <a:gd name="connsiteY6" fmla="*/ 6323 h 6322"/>
                <a:gd name="connsiteX7" fmla="*/ 5059 w 5058"/>
                <a:gd name="connsiteY7" fmla="*/ 0 h 6322"/>
                <a:gd name="connsiteX8" fmla="*/ 0 w 5058"/>
                <a:gd name="connsiteY8" fmla="*/ 2529 h 6322"/>
                <a:gd name="connsiteX9" fmla="*/ 3794 w 5058"/>
                <a:gd name="connsiteY9" fmla="*/ 3794 h 6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58" h="6322">
                  <a:moveTo>
                    <a:pt x="3794" y="3794"/>
                  </a:moveTo>
                  <a:lnTo>
                    <a:pt x="3794" y="3794"/>
                  </a:lnTo>
                  <a:lnTo>
                    <a:pt x="3794" y="3794"/>
                  </a:lnTo>
                  <a:lnTo>
                    <a:pt x="3794" y="3794"/>
                  </a:lnTo>
                  <a:lnTo>
                    <a:pt x="5059" y="5059"/>
                  </a:lnTo>
                  <a:lnTo>
                    <a:pt x="5059" y="6323"/>
                  </a:lnTo>
                  <a:lnTo>
                    <a:pt x="5059" y="6323"/>
                  </a:lnTo>
                  <a:lnTo>
                    <a:pt x="5059" y="0"/>
                  </a:lnTo>
                  <a:lnTo>
                    <a:pt x="0" y="2529"/>
                  </a:lnTo>
                  <a:lnTo>
                    <a:pt x="3794" y="3794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5BCB685E-FBE0-4BCD-BA0B-F7D5A7775D99}"/>
                </a:ext>
              </a:extLst>
            </p:cNvPr>
            <p:cNvSpPr/>
            <p:nvPr/>
          </p:nvSpPr>
          <p:spPr>
            <a:xfrm>
              <a:off x="11670050" y="5284099"/>
              <a:ext cx="75879" cy="53111"/>
            </a:xfrm>
            <a:custGeom>
              <a:avLst/>
              <a:gdLst>
                <a:gd name="connsiteX0" fmla="*/ 73350 w 75879"/>
                <a:gd name="connsiteY0" fmla="*/ 46789 h 53111"/>
                <a:gd name="connsiteX1" fmla="*/ 72086 w 75879"/>
                <a:gd name="connsiteY1" fmla="*/ 37937 h 53111"/>
                <a:gd name="connsiteX2" fmla="*/ 3794 w 75879"/>
                <a:gd name="connsiteY2" fmla="*/ 0 h 53111"/>
                <a:gd name="connsiteX3" fmla="*/ 3794 w 75879"/>
                <a:gd name="connsiteY3" fmla="*/ 2529 h 53111"/>
                <a:gd name="connsiteX4" fmla="*/ 3794 w 75879"/>
                <a:gd name="connsiteY4" fmla="*/ 2529 h 53111"/>
                <a:gd name="connsiteX5" fmla="*/ 3794 w 75879"/>
                <a:gd name="connsiteY5" fmla="*/ 3794 h 53111"/>
                <a:gd name="connsiteX6" fmla="*/ 3794 w 75879"/>
                <a:gd name="connsiteY6" fmla="*/ 5058 h 53111"/>
                <a:gd name="connsiteX7" fmla="*/ 3794 w 75879"/>
                <a:gd name="connsiteY7" fmla="*/ 6323 h 53111"/>
                <a:gd name="connsiteX8" fmla="*/ 3794 w 75879"/>
                <a:gd name="connsiteY8" fmla="*/ 7587 h 53111"/>
                <a:gd name="connsiteX9" fmla="*/ 3794 w 75879"/>
                <a:gd name="connsiteY9" fmla="*/ 7587 h 53111"/>
                <a:gd name="connsiteX10" fmla="*/ 2529 w 75879"/>
                <a:gd name="connsiteY10" fmla="*/ 8852 h 53111"/>
                <a:gd name="connsiteX11" fmla="*/ 2529 w 75879"/>
                <a:gd name="connsiteY11" fmla="*/ 8852 h 53111"/>
                <a:gd name="connsiteX12" fmla="*/ 0 w 75879"/>
                <a:gd name="connsiteY12" fmla="*/ 10117 h 53111"/>
                <a:gd name="connsiteX13" fmla="*/ 75880 w 75879"/>
                <a:gd name="connsiteY13" fmla="*/ 53112 h 53111"/>
                <a:gd name="connsiteX14" fmla="*/ 75880 w 75879"/>
                <a:gd name="connsiteY14" fmla="*/ 53112 h 53111"/>
                <a:gd name="connsiteX15" fmla="*/ 75880 w 75879"/>
                <a:gd name="connsiteY15" fmla="*/ 53112 h 53111"/>
                <a:gd name="connsiteX16" fmla="*/ 75880 w 75879"/>
                <a:gd name="connsiteY16" fmla="*/ 53112 h 53111"/>
                <a:gd name="connsiteX17" fmla="*/ 75880 w 75879"/>
                <a:gd name="connsiteY17" fmla="*/ 53112 h 53111"/>
                <a:gd name="connsiteX18" fmla="*/ 75880 w 75879"/>
                <a:gd name="connsiteY18" fmla="*/ 53112 h 53111"/>
                <a:gd name="connsiteX19" fmla="*/ 75880 w 75879"/>
                <a:gd name="connsiteY19" fmla="*/ 53112 h 53111"/>
                <a:gd name="connsiteX20" fmla="*/ 75880 w 75879"/>
                <a:gd name="connsiteY20" fmla="*/ 53112 h 53111"/>
                <a:gd name="connsiteX21" fmla="*/ 75880 w 75879"/>
                <a:gd name="connsiteY21" fmla="*/ 51847 h 53111"/>
                <a:gd name="connsiteX22" fmla="*/ 73350 w 75879"/>
                <a:gd name="connsiteY22" fmla="*/ 46789 h 53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5879" h="53111">
                  <a:moveTo>
                    <a:pt x="73350" y="46789"/>
                  </a:moveTo>
                  <a:lnTo>
                    <a:pt x="72086" y="37937"/>
                  </a:lnTo>
                  <a:lnTo>
                    <a:pt x="3794" y="0"/>
                  </a:lnTo>
                  <a:lnTo>
                    <a:pt x="3794" y="2529"/>
                  </a:lnTo>
                  <a:lnTo>
                    <a:pt x="3794" y="2529"/>
                  </a:lnTo>
                  <a:cubicBezTo>
                    <a:pt x="3794" y="2529"/>
                    <a:pt x="3794" y="2529"/>
                    <a:pt x="3794" y="3794"/>
                  </a:cubicBezTo>
                  <a:cubicBezTo>
                    <a:pt x="3794" y="3794"/>
                    <a:pt x="3794" y="3794"/>
                    <a:pt x="3794" y="5058"/>
                  </a:cubicBezTo>
                  <a:cubicBezTo>
                    <a:pt x="3794" y="5058"/>
                    <a:pt x="3794" y="5058"/>
                    <a:pt x="3794" y="6323"/>
                  </a:cubicBezTo>
                  <a:cubicBezTo>
                    <a:pt x="3794" y="6323"/>
                    <a:pt x="3794" y="6323"/>
                    <a:pt x="3794" y="7587"/>
                  </a:cubicBezTo>
                  <a:lnTo>
                    <a:pt x="3794" y="7587"/>
                  </a:lnTo>
                  <a:lnTo>
                    <a:pt x="2529" y="8852"/>
                  </a:lnTo>
                  <a:lnTo>
                    <a:pt x="2529" y="8852"/>
                  </a:lnTo>
                  <a:lnTo>
                    <a:pt x="0" y="10117"/>
                  </a:lnTo>
                  <a:lnTo>
                    <a:pt x="75880" y="53112"/>
                  </a:lnTo>
                  <a:lnTo>
                    <a:pt x="75880" y="53112"/>
                  </a:lnTo>
                  <a:lnTo>
                    <a:pt x="75880" y="53112"/>
                  </a:lnTo>
                  <a:lnTo>
                    <a:pt x="75880" y="53112"/>
                  </a:lnTo>
                  <a:lnTo>
                    <a:pt x="75880" y="53112"/>
                  </a:lnTo>
                  <a:lnTo>
                    <a:pt x="75880" y="53112"/>
                  </a:lnTo>
                  <a:lnTo>
                    <a:pt x="75880" y="53112"/>
                  </a:lnTo>
                  <a:lnTo>
                    <a:pt x="75880" y="53112"/>
                  </a:lnTo>
                  <a:cubicBezTo>
                    <a:pt x="75880" y="53112"/>
                    <a:pt x="75880" y="53112"/>
                    <a:pt x="75880" y="51847"/>
                  </a:cubicBezTo>
                  <a:lnTo>
                    <a:pt x="73350" y="46789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DCDB0F2A-DFD0-4387-A70E-3A3BFBE86D15}"/>
                </a:ext>
              </a:extLst>
            </p:cNvPr>
            <p:cNvSpPr/>
            <p:nvPr/>
          </p:nvSpPr>
          <p:spPr>
            <a:xfrm>
              <a:off x="11409529" y="3569360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3F2AEDFB-AF4D-4870-BD51-DC9F4801AE72}"/>
                </a:ext>
              </a:extLst>
            </p:cNvPr>
            <p:cNvSpPr/>
            <p:nvPr/>
          </p:nvSpPr>
          <p:spPr>
            <a:xfrm>
              <a:off x="11410794" y="3568096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31EA63AA-F8E8-47A5-ADAB-961BA7208550}"/>
                </a:ext>
              </a:extLst>
            </p:cNvPr>
            <p:cNvSpPr/>
            <p:nvPr/>
          </p:nvSpPr>
          <p:spPr>
            <a:xfrm>
              <a:off x="11408265" y="3571890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8D60CDE2-41F2-415F-8674-F6929476401F}"/>
                </a:ext>
              </a:extLst>
            </p:cNvPr>
            <p:cNvSpPr/>
            <p:nvPr/>
          </p:nvSpPr>
          <p:spPr>
            <a:xfrm>
              <a:off x="11418382" y="3571890"/>
              <a:ext cx="75879" cy="40465"/>
            </a:xfrm>
            <a:custGeom>
              <a:avLst/>
              <a:gdLst>
                <a:gd name="connsiteX0" fmla="*/ 0 w 75879"/>
                <a:gd name="connsiteY0" fmla="*/ 7587 h 40465"/>
                <a:gd name="connsiteX1" fmla="*/ 72086 w 75879"/>
                <a:gd name="connsiteY1" fmla="*/ 40466 h 40465"/>
                <a:gd name="connsiteX2" fmla="*/ 72086 w 75879"/>
                <a:gd name="connsiteY2" fmla="*/ 37937 h 40465"/>
                <a:gd name="connsiteX3" fmla="*/ 72086 w 75879"/>
                <a:gd name="connsiteY3" fmla="*/ 37937 h 40465"/>
                <a:gd name="connsiteX4" fmla="*/ 72086 w 75879"/>
                <a:gd name="connsiteY4" fmla="*/ 36672 h 40465"/>
                <a:gd name="connsiteX5" fmla="*/ 72086 w 75879"/>
                <a:gd name="connsiteY5" fmla="*/ 35407 h 40465"/>
                <a:gd name="connsiteX6" fmla="*/ 72086 w 75879"/>
                <a:gd name="connsiteY6" fmla="*/ 34143 h 40465"/>
                <a:gd name="connsiteX7" fmla="*/ 73350 w 75879"/>
                <a:gd name="connsiteY7" fmla="*/ 34143 h 40465"/>
                <a:gd name="connsiteX8" fmla="*/ 74615 w 75879"/>
                <a:gd name="connsiteY8" fmla="*/ 34143 h 40465"/>
                <a:gd name="connsiteX9" fmla="*/ 74615 w 75879"/>
                <a:gd name="connsiteY9" fmla="*/ 34143 h 40465"/>
                <a:gd name="connsiteX10" fmla="*/ 75880 w 75879"/>
                <a:gd name="connsiteY10" fmla="*/ 32879 h 40465"/>
                <a:gd name="connsiteX11" fmla="*/ 6323 w 75879"/>
                <a:gd name="connsiteY11" fmla="*/ 0 h 40465"/>
                <a:gd name="connsiteX12" fmla="*/ 0 w 75879"/>
                <a:gd name="connsiteY12" fmla="*/ 2529 h 40465"/>
                <a:gd name="connsiteX13" fmla="*/ 0 w 75879"/>
                <a:gd name="connsiteY13" fmla="*/ 7587 h 40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5879" h="40465">
                  <a:moveTo>
                    <a:pt x="0" y="7587"/>
                  </a:moveTo>
                  <a:lnTo>
                    <a:pt x="72086" y="40466"/>
                  </a:lnTo>
                  <a:lnTo>
                    <a:pt x="72086" y="37937"/>
                  </a:lnTo>
                  <a:lnTo>
                    <a:pt x="72086" y="37937"/>
                  </a:lnTo>
                  <a:cubicBezTo>
                    <a:pt x="72086" y="37937"/>
                    <a:pt x="72086" y="36672"/>
                    <a:pt x="72086" y="36672"/>
                  </a:cubicBezTo>
                  <a:cubicBezTo>
                    <a:pt x="72086" y="36672"/>
                    <a:pt x="72086" y="36672"/>
                    <a:pt x="72086" y="35407"/>
                  </a:cubicBezTo>
                  <a:lnTo>
                    <a:pt x="72086" y="34143"/>
                  </a:lnTo>
                  <a:lnTo>
                    <a:pt x="73350" y="34143"/>
                  </a:lnTo>
                  <a:lnTo>
                    <a:pt x="74615" y="34143"/>
                  </a:lnTo>
                  <a:lnTo>
                    <a:pt x="74615" y="34143"/>
                  </a:lnTo>
                  <a:lnTo>
                    <a:pt x="75880" y="32879"/>
                  </a:lnTo>
                  <a:lnTo>
                    <a:pt x="6323" y="0"/>
                  </a:lnTo>
                  <a:lnTo>
                    <a:pt x="0" y="2529"/>
                  </a:lnTo>
                  <a:lnTo>
                    <a:pt x="0" y="7587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A315C6AD-99AA-441E-B71A-DB8918345705}"/>
                </a:ext>
              </a:extLst>
            </p:cNvPr>
            <p:cNvSpPr/>
            <p:nvPr/>
          </p:nvSpPr>
          <p:spPr>
            <a:xfrm>
              <a:off x="11589111" y="5282834"/>
              <a:ext cx="85997" cy="49001"/>
            </a:xfrm>
            <a:custGeom>
              <a:avLst/>
              <a:gdLst>
                <a:gd name="connsiteX0" fmla="*/ 77144 w 85997"/>
                <a:gd name="connsiteY0" fmla="*/ 3794 h 49001"/>
                <a:gd name="connsiteX1" fmla="*/ 77144 w 85997"/>
                <a:gd name="connsiteY1" fmla="*/ 0 h 49001"/>
                <a:gd name="connsiteX2" fmla="*/ 3794 w 85997"/>
                <a:gd name="connsiteY2" fmla="*/ 40466 h 49001"/>
                <a:gd name="connsiteX3" fmla="*/ 1265 w 85997"/>
                <a:gd name="connsiteY3" fmla="*/ 41731 h 49001"/>
                <a:gd name="connsiteX4" fmla="*/ 1265 w 85997"/>
                <a:gd name="connsiteY4" fmla="*/ 41731 h 49001"/>
                <a:gd name="connsiteX5" fmla="*/ 1265 w 85997"/>
                <a:gd name="connsiteY5" fmla="*/ 41731 h 49001"/>
                <a:gd name="connsiteX6" fmla="*/ 0 w 85997"/>
                <a:gd name="connsiteY6" fmla="*/ 41731 h 49001"/>
                <a:gd name="connsiteX7" fmla="*/ 0 w 85997"/>
                <a:gd name="connsiteY7" fmla="*/ 42995 h 49001"/>
                <a:gd name="connsiteX8" fmla="*/ 0 w 85997"/>
                <a:gd name="connsiteY8" fmla="*/ 44259 h 49001"/>
                <a:gd name="connsiteX9" fmla="*/ 0 w 85997"/>
                <a:gd name="connsiteY9" fmla="*/ 45524 h 49001"/>
                <a:gd name="connsiteX10" fmla="*/ 0 w 85997"/>
                <a:gd name="connsiteY10" fmla="*/ 46789 h 49001"/>
                <a:gd name="connsiteX11" fmla="*/ 0 w 85997"/>
                <a:gd name="connsiteY11" fmla="*/ 46789 h 49001"/>
                <a:gd name="connsiteX12" fmla="*/ 0 w 85997"/>
                <a:gd name="connsiteY12" fmla="*/ 46789 h 49001"/>
                <a:gd name="connsiteX13" fmla="*/ 1265 w 85997"/>
                <a:gd name="connsiteY13" fmla="*/ 48053 h 49001"/>
                <a:gd name="connsiteX14" fmla="*/ 1265 w 85997"/>
                <a:gd name="connsiteY14" fmla="*/ 48053 h 49001"/>
                <a:gd name="connsiteX15" fmla="*/ 6323 w 85997"/>
                <a:gd name="connsiteY15" fmla="*/ 48053 h 49001"/>
                <a:gd name="connsiteX16" fmla="*/ 13911 w 85997"/>
                <a:gd name="connsiteY16" fmla="*/ 44259 h 49001"/>
                <a:gd name="connsiteX17" fmla="*/ 83468 w 85997"/>
                <a:gd name="connsiteY17" fmla="*/ 6323 h 49001"/>
                <a:gd name="connsiteX18" fmla="*/ 85997 w 85997"/>
                <a:gd name="connsiteY18" fmla="*/ 5059 h 49001"/>
                <a:gd name="connsiteX19" fmla="*/ 85997 w 85997"/>
                <a:gd name="connsiteY19" fmla="*/ 5059 h 49001"/>
                <a:gd name="connsiteX20" fmla="*/ 84732 w 85997"/>
                <a:gd name="connsiteY20" fmla="*/ 5059 h 49001"/>
                <a:gd name="connsiteX21" fmla="*/ 77144 w 85997"/>
                <a:gd name="connsiteY21" fmla="*/ 3794 h 49001"/>
                <a:gd name="connsiteX22" fmla="*/ 77144 w 85997"/>
                <a:gd name="connsiteY22" fmla="*/ 3794 h 49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5997" h="49001">
                  <a:moveTo>
                    <a:pt x="77144" y="3794"/>
                  </a:moveTo>
                  <a:lnTo>
                    <a:pt x="77144" y="0"/>
                  </a:lnTo>
                  <a:lnTo>
                    <a:pt x="3794" y="40466"/>
                  </a:lnTo>
                  <a:lnTo>
                    <a:pt x="1265" y="41731"/>
                  </a:lnTo>
                  <a:lnTo>
                    <a:pt x="1265" y="41731"/>
                  </a:lnTo>
                  <a:lnTo>
                    <a:pt x="1265" y="41731"/>
                  </a:lnTo>
                  <a:lnTo>
                    <a:pt x="0" y="41731"/>
                  </a:lnTo>
                  <a:cubicBezTo>
                    <a:pt x="0" y="41731"/>
                    <a:pt x="0" y="41731"/>
                    <a:pt x="0" y="42995"/>
                  </a:cubicBezTo>
                  <a:lnTo>
                    <a:pt x="0" y="44259"/>
                  </a:lnTo>
                  <a:lnTo>
                    <a:pt x="0" y="45524"/>
                  </a:lnTo>
                  <a:cubicBezTo>
                    <a:pt x="0" y="45524"/>
                    <a:pt x="0" y="45524"/>
                    <a:pt x="0" y="46789"/>
                  </a:cubicBezTo>
                  <a:cubicBezTo>
                    <a:pt x="0" y="48053"/>
                    <a:pt x="0" y="46789"/>
                    <a:pt x="0" y="46789"/>
                  </a:cubicBezTo>
                  <a:lnTo>
                    <a:pt x="0" y="46789"/>
                  </a:lnTo>
                  <a:lnTo>
                    <a:pt x="1265" y="48053"/>
                  </a:lnTo>
                  <a:lnTo>
                    <a:pt x="1265" y="48053"/>
                  </a:lnTo>
                  <a:cubicBezTo>
                    <a:pt x="2529" y="49318"/>
                    <a:pt x="5059" y="49318"/>
                    <a:pt x="6323" y="48053"/>
                  </a:cubicBezTo>
                  <a:lnTo>
                    <a:pt x="13911" y="44259"/>
                  </a:lnTo>
                  <a:lnTo>
                    <a:pt x="83468" y="6323"/>
                  </a:lnTo>
                  <a:lnTo>
                    <a:pt x="85997" y="5059"/>
                  </a:lnTo>
                  <a:lnTo>
                    <a:pt x="85997" y="5059"/>
                  </a:lnTo>
                  <a:cubicBezTo>
                    <a:pt x="85997" y="5059"/>
                    <a:pt x="84732" y="5059"/>
                    <a:pt x="84732" y="5059"/>
                  </a:cubicBezTo>
                  <a:cubicBezTo>
                    <a:pt x="80938" y="7587"/>
                    <a:pt x="78409" y="6323"/>
                    <a:pt x="77144" y="3794"/>
                  </a:cubicBezTo>
                  <a:cubicBezTo>
                    <a:pt x="77144" y="3794"/>
                    <a:pt x="77144" y="3794"/>
                    <a:pt x="77144" y="3794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AA51097C-F330-4645-AFD1-FF294065362A}"/>
                </a:ext>
              </a:extLst>
            </p:cNvPr>
            <p:cNvSpPr/>
            <p:nvPr/>
          </p:nvSpPr>
          <p:spPr>
            <a:xfrm>
              <a:off x="11601758" y="1398118"/>
              <a:ext cx="355370" cy="132778"/>
            </a:xfrm>
            <a:custGeom>
              <a:avLst/>
              <a:gdLst>
                <a:gd name="connsiteX0" fmla="*/ 0 w 355370"/>
                <a:gd name="connsiteY0" fmla="*/ 128985 h 132778"/>
                <a:gd name="connsiteX1" fmla="*/ 2529 w 355370"/>
                <a:gd name="connsiteY1" fmla="*/ 128985 h 132778"/>
                <a:gd name="connsiteX2" fmla="*/ 15176 w 355370"/>
                <a:gd name="connsiteY2" fmla="*/ 132778 h 132778"/>
                <a:gd name="connsiteX3" fmla="*/ 355370 w 355370"/>
                <a:gd name="connsiteY3" fmla="*/ 8852 h 132778"/>
                <a:gd name="connsiteX4" fmla="*/ 354105 w 355370"/>
                <a:gd name="connsiteY4" fmla="*/ 8852 h 132778"/>
                <a:gd name="connsiteX5" fmla="*/ 350311 w 355370"/>
                <a:gd name="connsiteY5" fmla="*/ 3794 h 132778"/>
                <a:gd name="connsiteX6" fmla="*/ 354105 w 355370"/>
                <a:gd name="connsiteY6" fmla="*/ 0 h 132778"/>
                <a:gd name="connsiteX7" fmla="*/ 354105 w 355370"/>
                <a:gd name="connsiteY7" fmla="*/ 0 h 132778"/>
                <a:gd name="connsiteX8" fmla="*/ 0 w 355370"/>
                <a:gd name="connsiteY8" fmla="*/ 128985 h 132778"/>
                <a:gd name="connsiteX9" fmla="*/ 0 w 355370"/>
                <a:gd name="connsiteY9" fmla="*/ 128985 h 132778"/>
                <a:gd name="connsiteX10" fmla="*/ 0 w 355370"/>
                <a:gd name="connsiteY10" fmla="*/ 128985 h 132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55370" h="132778">
                  <a:moveTo>
                    <a:pt x="0" y="128985"/>
                  </a:moveTo>
                  <a:lnTo>
                    <a:pt x="2529" y="128985"/>
                  </a:lnTo>
                  <a:lnTo>
                    <a:pt x="15176" y="132778"/>
                  </a:lnTo>
                  <a:lnTo>
                    <a:pt x="355370" y="8852"/>
                  </a:lnTo>
                  <a:lnTo>
                    <a:pt x="354105" y="8852"/>
                  </a:lnTo>
                  <a:cubicBezTo>
                    <a:pt x="351576" y="7587"/>
                    <a:pt x="350311" y="5058"/>
                    <a:pt x="350311" y="3794"/>
                  </a:cubicBezTo>
                  <a:cubicBezTo>
                    <a:pt x="350311" y="2529"/>
                    <a:pt x="351576" y="1265"/>
                    <a:pt x="354105" y="0"/>
                  </a:cubicBezTo>
                  <a:lnTo>
                    <a:pt x="354105" y="0"/>
                  </a:lnTo>
                  <a:lnTo>
                    <a:pt x="0" y="128985"/>
                  </a:lnTo>
                  <a:lnTo>
                    <a:pt x="0" y="128985"/>
                  </a:lnTo>
                  <a:lnTo>
                    <a:pt x="0" y="128985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256A12B6-F198-4B01-A5DE-9535A629D176}"/>
                </a:ext>
              </a:extLst>
            </p:cNvPr>
            <p:cNvSpPr/>
            <p:nvPr/>
          </p:nvSpPr>
          <p:spPr>
            <a:xfrm>
              <a:off x="11597964" y="1530896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C9A5AA77-5D60-435C-8092-8B5229948A58}"/>
                </a:ext>
              </a:extLst>
            </p:cNvPr>
            <p:cNvSpPr/>
            <p:nvPr/>
          </p:nvSpPr>
          <p:spPr>
            <a:xfrm>
              <a:off x="11599229" y="1529632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354267BC-3CC2-42E9-8763-45CA72805C0B}"/>
                </a:ext>
              </a:extLst>
            </p:cNvPr>
            <p:cNvSpPr/>
            <p:nvPr/>
          </p:nvSpPr>
          <p:spPr>
            <a:xfrm>
              <a:off x="11600493" y="1528367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2F28861E-D54E-42AD-BDF0-07C95B4A70DF}"/>
                </a:ext>
              </a:extLst>
            </p:cNvPr>
            <p:cNvSpPr/>
            <p:nvPr/>
          </p:nvSpPr>
          <p:spPr>
            <a:xfrm>
              <a:off x="11600493" y="1528367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2ACC3BE0-0988-42AF-A381-AE37AFEEBC53}"/>
                </a:ext>
              </a:extLst>
            </p:cNvPr>
            <p:cNvSpPr/>
            <p:nvPr/>
          </p:nvSpPr>
          <p:spPr>
            <a:xfrm>
              <a:off x="11599229" y="1528367"/>
              <a:ext cx="562" cy="12645"/>
            </a:xfrm>
            <a:custGeom>
              <a:avLst/>
              <a:gdLst>
                <a:gd name="connsiteX0" fmla="*/ 0 w 562"/>
                <a:gd name="connsiteY0" fmla="*/ 0 h 12645"/>
                <a:gd name="connsiteX1" fmla="*/ 0 w 562"/>
                <a:gd name="connsiteY1" fmla="*/ 0 h 12645"/>
                <a:gd name="connsiteX2" fmla="*/ 0 w 562"/>
                <a:gd name="connsiteY2" fmla="*/ 0 h 12645"/>
                <a:gd name="connsiteX3" fmla="*/ 0 w 562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2" h="12645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1265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2E42D473-4C12-4C5E-98F6-6E2FFCC85E41}"/>
                </a:ext>
              </a:extLst>
            </p:cNvPr>
            <p:cNvSpPr/>
            <p:nvPr/>
          </p:nvSpPr>
          <p:spPr>
            <a:xfrm>
              <a:off x="11597964" y="1530896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  <a:gd name="connsiteX4" fmla="*/ 0 w 12646"/>
                <a:gd name="connsiteY4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C79FEDDC-2976-4889-BB61-D57C072EE439}"/>
                </a:ext>
              </a:extLst>
            </p:cNvPr>
            <p:cNvSpPr/>
            <p:nvPr/>
          </p:nvSpPr>
          <p:spPr>
            <a:xfrm>
              <a:off x="11597964" y="1532161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E584E813-98C1-405C-B411-F61308089404}"/>
                </a:ext>
              </a:extLst>
            </p:cNvPr>
            <p:cNvSpPr/>
            <p:nvPr/>
          </p:nvSpPr>
          <p:spPr>
            <a:xfrm>
              <a:off x="11604287" y="1527103"/>
              <a:ext cx="614625" cy="197270"/>
            </a:xfrm>
            <a:custGeom>
              <a:avLst/>
              <a:gdLst>
                <a:gd name="connsiteX0" fmla="*/ 0 w 614625"/>
                <a:gd name="connsiteY0" fmla="*/ 0 h 197270"/>
                <a:gd name="connsiteX1" fmla="*/ 0 w 614625"/>
                <a:gd name="connsiteY1" fmla="*/ 0 h 197270"/>
                <a:gd name="connsiteX2" fmla="*/ 3794 w 614625"/>
                <a:gd name="connsiteY2" fmla="*/ 3794 h 197270"/>
                <a:gd name="connsiteX3" fmla="*/ 5059 w 614625"/>
                <a:gd name="connsiteY3" fmla="*/ 11381 h 197270"/>
                <a:gd name="connsiteX4" fmla="*/ 614626 w 614625"/>
                <a:gd name="connsiteY4" fmla="*/ 197271 h 197270"/>
                <a:gd name="connsiteX5" fmla="*/ 614626 w 614625"/>
                <a:gd name="connsiteY5" fmla="*/ 187154 h 197270"/>
                <a:gd name="connsiteX6" fmla="*/ 13911 w 614625"/>
                <a:gd name="connsiteY6" fmla="*/ 3794 h 197270"/>
                <a:gd name="connsiteX7" fmla="*/ 0 w 614625"/>
                <a:gd name="connsiteY7" fmla="*/ 0 h 197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14625" h="197270">
                  <a:moveTo>
                    <a:pt x="0" y="0"/>
                  </a:moveTo>
                  <a:lnTo>
                    <a:pt x="0" y="0"/>
                  </a:lnTo>
                  <a:cubicBezTo>
                    <a:pt x="1265" y="0"/>
                    <a:pt x="2529" y="2529"/>
                    <a:pt x="3794" y="3794"/>
                  </a:cubicBezTo>
                  <a:lnTo>
                    <a:pt x="5059" y="11381"/>
                  </a:lnTo>
                  <a:lnTo>
                    <a:pt x="614626" y="197271"/>
                  </a:lnTo>
                  <a:lnTo>
                    <a:pt x="614626" y="187154"/>
                  </a:lnTo>
                  <a:lnTo>
                    <a:pt x="13911" y="37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D3A56C94-0A8C-42F9-BCD3-9B595C0FA261}"/>
                </a:ext>
              </a:extLst>
            </p:cNvPr>
            <p:cNvSpPr/>
            <p:nvPr/>
          </p:nvSpPr>
          <p:spPr>
            <a:xfrm>
              <a:off x="12053242" y="2250429"/>
              <a:ext cx="166935" cy="76369"/>
            </a:xfrm>
            <a:custGeom>
              <a:avLst/>
              <a:gdLst>
                <a:gd name="connsiteX0" fmla="*/ 0 w 166935"/>
                <a:gd name="connsiteY0" fmla="*/ 72080 h 76369"/>
                <a:gd name="connsiteX1" fmla="*/ 0 w 166935"/>
                <a:gd name="connsiteY1" fmla="*/ 73344 h 76369"/>
                <a:gd name="connsiteX2" fmla="*/ 6323 w 166935"/>
                <a:gd name="connsiteY2" fmla="*/ 75873 h 76369"/>
                <a:gd name="connsiteX3" fmla="*/ 10117 w 166935"/>
                <a:gd name="connsiteY3" fmla="*/ 74609 h 76369"/>
                <a:gd name="connsiteX4" fmla="*/ 166935 w 166935"/>
                <a:gd name="connsiteY4" fmla="*/ 10116 h 76369"/>
                <a:gd name="connsiteX5" fmla="*/ 166935 w 166935"/>
                <a:gd name="connsiteY5" fmla="*/ 0 h 76369"/>
                <a:gd name="connsiteX6" fmla="*/ 5059 w 166935"/>
                <a:gd name="connsiteY6" fmla="*/ 67022 h 76369"/>
                <a:gd name="connsiteX7" fmla="*/ 2529 w 166935"/>
                <a:gd name="connsiteY7" fmla="*/ 68286 h 76369"/>
                <a:gd name="connsiteX8" fmla="*/ 2529 w 166935"/>
                <a:gd name="connsiteY8" fmla="*/ 68286 h 76369"/>
                <a:gd name="connsiteX9" fmla="*/ 1265 w 166935"/>
                <a:gd name="connsiteY9" fmla="*/ 69551 h 76369"/>
                <a:gd name="connsiteX10" fmla="*/ 1265 w 166935"/>
                <a:gd name="connsiteY10" fmla="*/ 69551 h 76369"/>
                <a:gd name="connsiteX11" fmla="*/ 1265 w 166935"/>
                <a:gd name="connsiteY11" fmla="*/ 70815 h 76369"/>
                <a:gd name="connsiteX12" fmla="*/ 1265 w 166935"/>
                <a:gd name="connsiteY12" fmla="*/ 72080 h 7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6935" h="76369">
                  <a:moveTo>
                    <a:pt x="0" y="72080"/>
                  </a:moveTo>
                  <a:cubicBezTo>
                    <a:pt x="0" y="72080"/>
                    <a:pt x="0" y="73344"/>
                    <a:pt x="0" y="73344"/>
                  </a:cubicBezTo>
                  <a:cubicBezTo>
                    <a:pt x="1265" y="75873"/>
                    <a:pt x="3794" y="77138"/>
                    <a:pt x="6323" y="75873"/>
                  </a:cubicBezTo>
                  <a:lnTo>
                    <a:pt x="10117" y="74609"/>
                  </a:lnTo>
                  <a:lnTo>
                    <a:pt x="166935" y="10116"/>
                  </a:lnTo>
                  <a:lnTo>
                    <a:pt x="166935" y="0"/>
                  </a:lnTo>
                  <a:lnTo>
                    <a:pt x="5059" y="67022"/>
                  </a:lnTo>
                  <a:lnTo>
                    <a:pt x="2529" y="68286"/>
                  </a:lnTo>
                  <a:lnTo>
                    <a:pt x="2529" y="68286"/>
                  </a:lnTo>
                  <a:lnTo>
                    <a:pt x="1265" y="69551"/>
                  </a:lnTo>
                  <a:cubicBezTo>
                    <a:pt x="1265" y="69551"/>
                    <a:pt x="1265" y="69551"/>
                    <a:pt x="1265" y="69551"/>
                  </a:cubicBezTo>
                  <a:cubicBezTo>
                    <a:pt x="1265" y="69551"/>
                    <a:pt x="1265" y="69551"/>
                    <a:pt x="1265" y="70815"/>
                  </a:cubicBezTo>
                  <a:lnTo>
                    <a:pt x="1265" y="72080"/>
                  </a:lnTo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BC974CC2-43A2-4962-8071-509A4E048E9A}"/>
                </a:ext>
              </a:extLst>
            </p:cNvPr>
            <p:cNvSpPr/>
            <p:nvPr/>
          </p:nvSpPr>
          <p:spPr>
            <a:xfrm>
              <a:off x="12070947" y="5863265"/>
              <a:ext cx="145436" cy="97370"/>
            </a:xfrm>
            <a:custGeom>
              <a:avLst/>
              <a:gdLst>
                <a:gd name="connsiteX0" fmla="*/ 0 w 145436"/>
                <a:gd name="connsiteY0" fmla="*/ 88519 h 97370"/>
                <a:gd name="connsiteX1" fmla="*/ 2529 w 145436"/>
                <a:gd name="connsiteY1" fmla="*/ 89783 h 97370"/>
                <a:gd name="connsiteX2" fmla="*/ 3794 w 145436"/>
                <a:gd name="connsiteY2" fmla="*/ 96106 h 97370"/>
                <a:gd name="connsiteX3" fmla="*/ 3794 w 145436"/>
                <a:gd name="connsiteY3" fmla="*/ 96106 h 97370"/>
                <a:gd name="connsiteX4" fmla="*/ 1265 w 145436"/>
                <a:gd name="connsiteY4" fmla="*/ 97371 h 97370"/>
                <a:gd name="connsiteX5" fmla="*/ 1265 w 145436"/>
                <a:gd name="connsiteY5" fmla="*/ 97371 h 97370"/>
                <a:gd name="connsiteX6" fmla="*/ 1265 w 145436"/>
                <a:gd name="connsiteY6" fmla="*/ 97371 h 97370"/>
                <a:gd name="connsiteX7" fmla="*/ 1265 w 145436"/>
                <a:gd name="connsiteY7" fmla="*/ 97371 h 97370"/>
                <a:gd name="connsiteX8" fmla="*/ 145436 w 145436"/>
                <a:gd name="connsiteY8" fmla="*/ 11381 h 97370"/>
                <a:gd name="connsiteX9" fmla="*/ 145436 w 145436"/>
                <a:gd name="connsiteY9" fmla="*/ 0 h 97370"/>
                <a:gd name="connsiteX10" fmla="*/ 2529 w 145436"/>
                <a:gd name="connsiteY10" fmla="*/ 84725 h 97370"/>
                <a:gd name="connsiteX11" fmla="*/ 0 w 145436"/>
                <a:gd name="connsiteY11" fmla="*/ 88519 h 97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5436" h="97370">
                  <a:moveTo>
                    <a:pt x="0" y="88519"/>
                  </a:moveTo>
                  <a:lnTo>
                    <a:pt x="2529" y="89783"/>
                  </a:lnTo>
                  <a:cubicBezTo>
                    <a:pt x="5059" y="91048"/>
                    <a:pt x="5059" y="93577"/>
                    <a:pt x="3794" y="96106"/>
                  </a:cubicBezTo>
                  <a:cubicBezTo>
                    <a:pt x="3794" y="96106"/>
                    <a:pt x="3794" y="96106"/>
                    <a:pt x="3794" y="96106"/>
                  </a:cubicBezTo>
                  <a:cubicBezTo>
                    <a:pt x="3794" y="97371"/>
                    <a:pt x="2529" y="97371"/>
                    <a:pt x="1265" y="97371"/>
                  </a:cubicBezTo>
                  <a:lnTo>
                    <a:pt x="1265" y="97371"/>
                  </a:lnTo>
                  <a:lnTo>
                    <a:pt x="1265" y="97371"/>
                  </a:lnTo>
                  <a:lnTo>
                    <a:pt x="1265" y="97371"/>
                  </a:lnTo>
                  <a:lnTo>
                    <a:pt x="145436" y="11381"/>
                  </a:lnTo>
                  <a:lnTo>
                    <a:pt x="145436" y="0"/>
                  </a:lnTo>
                  <a:lnTo>
                    <a:pt x="2529" y="84725"/>
                  </a:lnTo>
                  <a:lnTo>
                    <a:pt x="0" y="88519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3920DD07-E263-4C17-ADD8-28FDE30D3572}"/>
                </a:ext>
              </a:extLst>
            </p:cNvPr>
            <p:cNvSpPr/>
            <p:nvPr/>
          </p:nvSpPr>
          <p:spPr>
            <a:xfrm>
              <a:off x="12070947" y="5961901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3E94C0A1-E0F6-4F0D-A67D-8969509FE9DC}"/>
                </a:ext>
              </a:extLst>
            </p:cNvPr>
            <p:cNvSpPr/>
            <p:nvPr/>
          </p:nvSpPr>
          <p:spPr>
            <a:xfrm>
              <a:off x="12069683" y="5961901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9CEBFFEF-9D6E-4340-B9C7-07CD8E2DD35A}"/>
                </a:ext>
              </a:extLst>
            </p:cNvPr>
            <p:cNvSpPr/>
            <p:nvPr/>
          </p:nvSpPr>
          <p:spPr>
            <a:xfrm>
              <a:off x="11289386" y="5492750"/>
              <a:ext cx="784614" cy="471679"/>
            </a:xfrm>
            <a:custGeom>
              <a:avLst/>
              <a:gdLst>
                <a:gd name="connsiteX0" fmla="*/ 3794 w 784614"/>
                <a:gd name="connsiteY0" fmla="*/ 0 h 471679"/>
                <a:gd name="connsiteX1" fmla="*/ 3794 w 784614"/>
                <a:gd name="connsiteY1" fmla="*/ 2529 h 471679"/>
                <a:gd name="connsiteX2" fmla="*/ 3794 w 784614"/>
                <a:gd name="connsiteY2" fmla="*/ 2529 h 471679"/>
                <a:gd name="connsiteX3" fmla="*/ 3794 w 784614"/>
                <a:gd name="connsiteY3" fmla="*/ 3794 h 471679"/>
                <a:gd name="connsiteX4" fmla="*/ 3794 w 784614"/>
                <a:gd name="connsiteY4" fmla="*/ 5058 h 471679"/>
                <a:gd name="connsiteX5" fmla="*/ 3794 w 784614"/>
                <a:gd name="connsiteY5" fmla="*/ 6323 h 471679"/>
                <a:gd name="connsiteX6" fmla="*/ 3794 w 784614"/>
                <a:gd name="connsiteY6" fmla="*/ 7587 h 471679"/>
                <a:gd name="connsiteX7" fmla="*/ 3794 w 784614"/>
                <a:gd name="connsiteY7" fmla="*/ 7587 h 471679"/>
                <a:gd name="connsiteX8" fmla="*/ 2529 w 784614"/>
                <a:gd name="connsiteY8" fmla="*/ 8852 h 471679"/>
                <a:gd name="connsiteX9" fmla="*/ 2529 w 784614"/>
                <a:gd name="connsiteY9" fmla="*/ 8852 h 471679"/>
                <a:gd name="connsiteX10" fmla="*/ 0 w 784614"/>
                <a:gd name="connsiteY10" fmla="*/ 10117 h 471679"/>
                <a:gd name="connsiteX11" fmla="*/ 777767 w 784614"/>
                <a:gd name="connsiteY11" fmla="*/ 471680 h 471679"/>
                <a:gd name="connsiteX12" fmla="*/ 777767 w 784614"/>
                <a:gd name="connsiteY12" fmla="*/ 471680 h 471679"/>
                <a:gd name="connsiteX13" fmla="*/ 779032 w 784614"/>
                <a:gd name="connsiteY13" fmla="*/ 471680 h 471679"/>
                <a:gd name="connsiteX14" fmla="*/ 780296 w 784614"/>
                <a:gd name="connsiteY14" fmla="*/ 471680 h 471679"/>
                <a:gd name="connsiteX15" fmla="*/ 781561 w 784614"/>
                <a:gd name="connsiteY15" fmla="*/ 471680 h 471679"/>
                <a:gd name="connsiteX16" fmla="*/ 781561 w 784614"/>
                <a:gd name="connsiteY16" fmla="*/ 471680 h 471679"/>
                <a:gd name="connsiteX17" fmla="*/ 784090 w 784614"/>
                <a:gd name="connsiteY17" fmla="*/ 470415 h 471679"/>
                <a:gd name="connsiteX18" fmla="*/ 782826 w 784614"/>
                <a:gd name="connsiteY18" fmla="*/ 464092 h 471679"/>
                <a:gd name="connsiteX19" fmla="*/ 782826 w 784614"/>
                <a:gd name="connsiteY19" fmla="*/ 464092 h 471679"/>
                <a:gd name="connsiteX20" fmla="*/ 780296 w 784614"/>
                <a:gd name="connsiteY20" fmla="*/ 462828 h 471679"/>
                <a:gd name="connsiteX21" fmla="*/ 775238 w 784614"/>
                <a:gd name="connsiteY21" fmla="*/ 456505 h 471679"/>
                <a:gd name="connsiteX22" fmla="*/ 3794 w 784614"/>
                <a:gd name="connsiteY22" fmla="*/ 0 h 471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84614" h="471679">
                  <a:moveTo>
                    <a:pt x="3794" y="0"/>
                  </a:moveTo>
                  <a:lnTo>
                    <a:pt x="3794" y="2529"/>
                  </a:lnTo>
                  <a:lnTo>
                    <a:pt x="3794" y="2529"/>
                  </a:lnTo>
                  <a:cubicBezTo>
                    <a:pt x="3794" y="2529"/>
                    <a:pt x="3794" y="3794"/>
                    <a:pt x="3794" y="3794"/>
                  </a:cubicBezTo>
                  <a:lnTo>
                    <a:pt x="3794" y="5058"/>
                  </a:lnTo>
                  <a:lnTo>
                    <a:pt x="3794" y="6323"/>
                  </a:lnTo>
                  <a:lnTo>
                    <a:pt x="3794" y="7587"/>
                  </a:lnTo>
                  <a:lnTo>
                    <a:pt x="3794" y="7587"/>
                  </a:lnTo>
                  <a:lnTo>
                    <a:pt x="2529" y="8852"/>
                  </a:lnTo>
                  <a:lnTo>
                    <a:pt x="2529" y="8852"/>
                  </a:lnTo>
                  <a:lnTo>
                    <a:pt x="0" y="10117"/>
                  </a:lnTo>
                  <a:lnTo>
                    <a:pt x="777767" y="471680"/>
                  </a:lnTo>
                  <a:lnTo>
                    <a:pt x="777767" y="471680"/>
                  </a:lnTo>
                  <a:lnTo>
                    <a:pt x="779032" y="471680"/>
                  </a:lnTo>
                  <a:lnTo>
                    <a:pt x="780296" y="471680"/>
                  </a:lnTo>
                  <a:lnTo>
                    <a:pt x="781561" y="471680"/>
                  </a:lnTo>
                  <a:lnTo>
                    <a:pt x="781561" y="471680"/>
                  </a:lnTo>
                  <a:cubicBezTo>
                    <a:pt x="782826" y="471680"/>
                    <a:pt x="782826" y="470415"/>
                    <a:pt x="784090" y="470415"/>
                  </a:cubicBezTo>
                  <a:cubicBezTo>
                    <a:pt x="785355" y="467886"/>
                    <a:pt x="784090" y="465357"/>
                    <a:pt x="782826" y="464092"/>
                  </a:cubicBezTo>
                  <a:cubicBezTo>
                    <a:pt x="782826" y="464092"/>
                    <a:pt x="782826" y="464092"/>
                    <a:pt x="782826" y="464092"/>
                  </a:cubicBezTo>
                  <a:lnTo>
                    <a:pt x="780296" y="462828"/>
                  </a:lnTo>
                  <a:lnTo>
                    <a:pt x="775238" y="456505"/>
                  </a:lnTo>
                  <a:lnTo>
                    <a:pt x="3794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6B8D6FA7-A1EB-443C-8D9E-731DD604B9A0}"/>
                </a:ext>
              </a:extLst>
            </p:cNvPr>
            <p:cNvSpPr/>
            <p:nvPr/>
          </p:nvSpPr>
          <p:spPr>
            <a:xfrm>
              <a:off x="10605205" y="5867059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9223B664-7EEA-467F-93BB-B356D7EB2706}"/>
                </a:ext>
              </a:extLst>
            </p:cNvPr>
            <p:cNvSpPr/>
            <p:nvPr/>
          </p:nvSpPr>
          <p:spPr>
            <a:xfrm>
              <a:off x="10603940" y="5868324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078A29CF-05CC-4235-BD1D-5C3CED85ADA7}"/>
                </a:ext>
              </a:extLst>
            </p:cNvPr>
            <p:cNvSpPr/>
            <p:nvPr/>
          </p:nvSpPr>
          <p:spPr>
            <a:xfrm>
              <a:off x="10614057" y="5868324"/>
              <a:ext cx="1121754" cy="734707"/>
            </a:xfrm>
            <a:custGeom>
              <a:avLst/>
              <a:gdLst>
                <a:gd name="connsiteX0" fmla="*/ 1265 w 1121754"/>
                <a:gd name="connsiteY0" fmla="*/ 10116 h 734707"/>
                <a:gd name="connsiteX1" fmla="*/ 1117961 w 1121754"/>
                <a:gd name="connsiteY1" fmla="*/ 733443 h 734707"/>
                <a:gd name="connsiteX2" fmla="*/ 1119225 w 1121754"/>
                <a:gd name="connsiteY2" fmla="*/ 734707 h 734707"/>
                <a:gd name="connsiteX3" fmla="*/ 1119225 w 1121754"/>
                <a:gd name="connsiteY3" fmla="*/ 734707 h 734707"/>
                <a:gd name="connsiteX4" fmla="*/ 1116696 w 1121754"/>
                <a:gd name="connsiteY4" fmla="*/ 728384 h 734707"/>
                <a:gd name="connsiteX5" fmla="*/ 1119225 w 1121754"/>
                <a:gd name="connsiteY5" fmla="*/ 725855 h 734707"/>
                <a:gd name="connsiteX6" fmla="*/ 1121755 w 1121754"/>
                <a:gd name="connsiteY6" fmla="*/ 724590 h 734707"/>
                <a:gd name="connsiteX7" fmla="*/ 3794 w 1121754"/>
                <a:gd name="connsiteY7" fmla="*/ 0 h 734707"/>
                <a:gd name="connsiteX8" fmla="*/ 0 w 1121754"/>
                <a:gd name="connsiteY8" fmla="*/ 2529 h 734707"/>
                <a:gd name="connsiteX9" fmla="*/ 1265 w 1121754"/>
                <a:gd name="connsiteY9" fmla="*/ 10116 h 734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21754" h="734707">
                  <a:moveTo>
                    <a:pt x="1265" y="10116"/>
                  </a:moveTo>
                  <a:lnTo>
                    <a:pt x="1117961" y="733443"/>
                  </a:lnTo>
                  <a:lnTo>
                    <a:pt x="1119225" y="734707"/>
                  </a:lnTo>
                  <a:lnTo>
                    <a:pt x="1119225" y="734707"/>
                  </a:lnTo>
                  <a:cubicBezTo>
                    <a:pt x="1116696" y="733443"/>
                    <a:pt x="1116696" y="730913"/>
                    <a:pt x="1116696" y="728384"/>
                  </a:cubicBezTo>
                  <a:cubicBezTo>
                    <a:pt x="1116696" y="727120"/>
                    <a:pt x="1117961" y="727120"/>
                    <a:pt x="1119225" y="725855"/>
                  </a:cubicBezTo>
                  <a:lnTo>
                    <a:pt x="1121755" y="724590"/>
                  </a:lnTo>
                  <a:lnTo>
                    <a:pt x="3794" y="0"/>
                  </a:lnTo>
                  <a:lnTo>
                    <a:pt x="0" y="2529"/>
                  </a:lnTo>
                  <a:lnTo>
                    <a:pt x="1265" y="10116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0EFD900A-DD27-4FC3-8A43-B54784A05891}"/>
                </a:ext>
              </a:extLst>
            </p:cNvPr>
            <p:cNvSpPr/>
            <p:nvPr/>
          </p:nvSpPr>
          <p:spPr>
            <a:xfrm>
              <a:off x="11730753" y="6298273"/>
              <a:ext cx="485630" cy="306022"/>
            </a:xfrm>
            <a:custGeom>
              <a:avLst/>
              <a:gdLst>
                <a:gd name="connsiteX0" fmla="*/ 2529 w 485630"/>
                <a:gd name="connsiteY0" fmla="*/ 297171 h 306022"/>
                <a:gd name="connsiteX1" fmla="*/ 0 w 485630"/>
                <a:gd name="connsiteY1" fmla="*/ 303493 h 306022"/>
                <a:gd name="connsiteX2" fmla="*/ 2529 w 485630"/>
                <a:gd name="connsiteY2" fmla="*/ 306022 h 306022"/>
                <a:gd name="connsiteX3" fmla="*/ 3794 w 485630"/>
                <a:gd name="connsiteY3" fmla="*/ 306022 h 306022"/>
                <a:gd name="connsiteX4" fmla="*/ 5059 w 485630"/>
                <a:gd name="connsiteY4" fmla="*/ 306022 h 306022"/>
                <a:gd name="connsiteX5" fmla="*/ 6323 w 485630"/>
                <a:gd name="connsiteY5" fmla="*/ 306022 h 306022"/>
                <a:gd name="connsiteX6" fmla="*/ 6323 w 485630"/>
                <a:gd name="connsiteY6" fmla="*/ 306022 h 306022"/>
                <a:gd name="connsiteX7" fmla="*/ 6323 w 485630"/>
                <a:gd name="connsiteY7" fmla="*/ 306022 h 306022"/>
                <a:gd name="connsiteX8" fmla="*/ 8852 w 485630"/>
                <a:gd name="connsiteY8" fmla="*/ 304758 h 306022"/>
                <a:gd name="connsiteX9" fmla="*/ 485630 w 485630"/>
                <a:gd name="connsiteY9" fmla="*/ 11381 h 306022"/>
                <a:gd name="connsiteX10" fmla="*/ 485630 w 485630"/>
                <a:gd name="connsiteY10" fmla="*/ 0 h 306022"/>
                <a:gd name="connsiteX11" fmla="*/ 5059 w 485630"/>
                <a:gd name="connsiteY11" fmla="*/ 295906 h 306022"/>
                <a:gd name="connsiteX12" fmla="*/ 2529 w 485630"/>
                <a:gd name="connsiteY12" fmla="*/ 297171 h 30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5630" h="306022">
                  <a:moveTo>
                    <a:pt x="2529" y="297171"/>
                  </a:moveTo>
                  <a:cubicBezTo>
                    <a:pt x="0" y="298435"/>
                    <a:pt x="0" y="300964"/>
                    <a:pt x="0" y="303493"/>
                  </a:cubicBezTo>
                  <a:cubicBezTo>
                    <a:pt x="0" y="304758"/>
                    <a:pt x="1265" y="304758"/>
                    <a:pt x="2529" y="306022"/>
                  </a:cubicBezTo>
                  <a:lnTo>
                    <a:pt x="3794" y="306022"/>
                  </a:lnTo>
                  <a:lnTo>
                    <a:pt x="5059" y="306022"/>
                  </a:lnTo>
                  <a:lnTo>
                    <a:pt x="6323" y="306022"/>
                  </a:lnTo>
                  <a:lnTo>
                    <a:pt x="6323" y="306022"/>
                  </a:lnTo>
                  <a:lnTo>
                    <a:pt x="6323" y="306022"/>
                  </a:lnTo>
                  <a:lnTo>
                    <a:pt x="8852" y="304758"/>
                  </a:lnTo>
                  <a:lnTo>
                    <a:pt x="485630" y="11381"/>
                  </a:lnTo>
                  <a:lnTo>
                    <a:pt x="485630" y="0"/>
                  </a:lnTo>
                  <a:lnTo>
                    <a:pt x="5059" y="295906"/>
                  </a:lnTo>
                  <a:lnTo>
                    <a:pt x="2529" y="297171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5D477731-E9FB-4192-A86D-3770D22990CB}"/>
                </a:ext>
              </a:extLst>
            </p:cNvPr>
            <p:cNvSpPr/>
            <p:nvPr/>
          </p:nvSpPr>
          <p:spPr>
            <a:xfrm>
              <a:off x="11898953" y="5244897"/>
              <a:ext cx="319959" cy="182096"/>
            </a:xfrm>
            <a:custGeom>
              <a:avLst/>
              <a:gdLst>
                <a:gd name="connsiteX0" fmla="*/ 3794 w 319959"/>
                <a:gd name="connsiteY0" fmla="*/ 2529 h 182096"/>
                <a:gd name="connsiteX1" fmla="*/ 3794 w 319959"/>
                <a:gd name="connsiteY1" fmla="*/ 2529 h 182096"/>
                <a:gd name="connsiteX2" fmla="*/ 3794 w 319959"/>
                <a:gd name="connsiteY2" fmla="*/ 3794 h 182096"/>
                <a:gd name="connsiteX3" fmla="*/ 3794 w 319959"/>
                <a:gd name="connsiteY3" fmla="*/ 3794 h 182096"/>
                <a:gd name="connsiteX4" fmla="*/ 3794 w 319959"/>
                <a:gd name="connsiteY4" fmla="*/ 5059 h 182096"/>
                <a:gd name="connsiteX5" fmla="*/ 3794 w 319959"/>
                <a:gd name="connsiteY5" fmla="*/ 5059 h 182096"/>
                <a:gd name="connsiteX6" fmla="*/ 3794 w 319959"/>
                <a:gd name="connsiteY6" fmla="*/ 5059 h 182096"/>
                <a:gd name="connsiteX7" fmla="*/ 2529 w 319959"/>
                <a:gd name="connsiteY7" fmla="*/ 5059 h 182096"/>
                <a:gd name="connsiteX8" fmla="*/ 2529 w 319959"/>
                <a:gd name="connsiteY8" fmla="*/ 5059 h 182096"/>
                <a:gd name="connsiteX9" fmla="*/ 0 w 319959"/>
                <a:gd name="connsiteY9" fmla="*/ 6323 h 182096"/>
                <a:gd name="connsiteX10" fmla="*/ 319960 w 319959"/>
                <a:gd name="connsiteY10" fmla="*/ 182096 h 182096"/>
                <a:gd name="connsiteX11" fmla="*/ 319960 w 319959"/>
                <a:gd name="connsiteY11" fmla="*/ 173244 h 182096"/>
                <a:gd name="connsiteX12" fmla="*/ 5059 w 319959"/>
                <a:gd name="connsiteY12" fmla="*/ 0 h 182096"/>
                <a:gd name="connsiteX13" fmla="*/ 3794 w 319959"/>
                <a:gd name="connsiteY13" fmla="*/ 2529 h 182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19959" h="182096">
                  <a:moveTo>
                    <a:pt x="3794" y="2529"/>
                  </a:moveTo>
                  <a:lnTo>
                    <a:pt x="3794" y="2529"/>
                  </a:lnTo>
                  <a:cubicBezTo>
                    <a:pt x="3794" y="2529"/>
                    <a:pt x="3794" y="3794"/>
                    <a:pt x="3794" y="3794"/>
                  </a:cubicBezTo>
                  <a:lnTo>
                    <a:pt x="3794" y="3794"/>
                  </a:lnTo>
                  <a:lnTo>
                    <a:pt x="3794" y="5059"/>
                  </a:lnTo>
                  <a:lnTo>
                    <a:pt x="3794" y="5059"/>
                  </a:lnTo>
                  <a:lnTo>
                    <a:pt x="3794" y="5059"/>
                  </a:lnTo>
                  <a:cubicBezTo>
                    <a:pt x="3794" y="5059"/>
                    <a:pt x="3794" y="5059"/>
                    <a:pt x="2529" y="5059"/>
                  </a:cubicBezTo>
                  <a:lnTo>
                    <a:pt x="2529" y="5059"/>
                  </a:lnTo>
                  <a:lnTo>
                    <a:pt x="0" y="6323"/>
                  </a:lnTo>
                  <a:lnTo>
                    <a:pt x="319960" y="182096"/>
                  </a:lnTo>
                  <a:lnTo>
                    <a:pt x="319960" y="173244"/>
                  </a:lnTo>
                  <a:lnTo>
                    <a:pt x="5059" y="0"/>
                  </a:lnTo>
                  <a:lnTo>
                    <a:pt x="3794" y="2529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4B2ED1FD-6089-459A-8750-99E4BDF42169}"/>
                </a:ext>
              </a:extLst>
            </p:cNvPr>
            <p:cNvSpPr/>
            <p:nvPr/>
          </p:nvSpPr>
          <p:spPr>
            <a:xfrm>
              <a:off x="11657403" y="3528895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CB65E4A2-D97D-4C0C-8EBD-C5DC6BCDB2D0}"/>
                </a:ext>
              </a:extLst>
            </p:cNvPr>
            <p:cNvSpPr/>
            <p:nvPr/>
          </p:nvSpPr>
          <p:spPr>
            <a:xfrm>
              <a:off x="11658668" y="3526366"/>
              <a:ext cx="555186" cy="252911"/>
            </a:xfrm>
            <a:custGeom>
              <a:avLst/>
              <a:gdLst>
                <a:gd name="connsiteX0" fmla="*/ 1265 w 555186"/>
                <a:gd name="connsiteY0" fmla="*/ 3794 h 252911"/>
                <a:gd name="connsiteX1" fmla="*/ 1265 w 555186"/>
                <a:gd name="connsiteY1" fmla="*/ 3794 h 252911"/>
                <a:gd name="connsiteX2" fmla="*/ 1265 w 555186"/>
                <a:gd name="connsiteY2" fmla="*/ 3794 h 252911"/>
                <a:gd name="connsiteX3" fmla="*/ 1265 w 555186"/>
                <a:gd name="connsiteY3" fmla="*/ 3794 h 252911"/>
                <a:gd name="connsiteX4" fmla="*/ 1265 w 555186"/>
                <a:gd name="connsiteY4" fmla="*/ 5058 h 252911"/>
                <a:gd name="connsiteX5" fmla="*/ 1265 w 555186"/>
                <a:gd name="connsiteY5" fmla="*/ 5058 h 252911"/>
                <a:gd name="connsiteX6" fmla="*/ 2529 w 555186"/>
                <a:gd name="connsiteY6" fmla="*/ 12646 h 252911"/>
                <a:gd name="connsiteX7" fmla="*/ 548863 w 555186"/>
                <a:gd name="connsiteY7" fmla="*/ 252911 h 252911"/>
                <a:gd name="connsiteX8" fmla="*/ 548863 w 555186"/>
                <a:gd name="connsiteY8" fmla="*/ 250382 h 252911"/>
                <a:gd name="connsiteX9" fmla="*/ 552657 w 555186"/>
                <a:gd name="connsiteY9" fmla="*/ 245324 h 252911"/>
                <a:gd name="connsiteX10" fmla="*/ 555186 w 555186"/>
                <a:gd name="connsiteY10" fmla="*/ 245324 h 252911"/>
                <a:gd name="connsiteX11" fmla="*/ 555186 w 555186"/>
                <a:gd name="connsiteY11" fmla="*/ 245324 h 252911"/>
                <a:gd name="connsiteX12" fmla="*/ 553922 w 555186"/>
                <a:gd name="connsiteY12" fmla="*/ 244060 h 252911"/>
                <a:gd name="connsiteX13" fmla="*/ 0 w 555186"/>
                <a:gd name="connsiteY13" fmla="*/ 0 h 252911"/>
                <a:gd name="connsiteX14" fmla="*/ 0 w 555186"/>
                <a:gd name="connsiteY14" fmla="*/ 0 h 252911"/>
                <a:gd name="connsiteX15" fmla="*/ 0 w 555186"/>
                <a:gd name="connsiteY15" fmla="*/ 0 h 252911"/>
                <a:gd name="connsiteX16" fmla="*/ 1265 w 555186"/>
                <a:gd name="connsiteY16" fmla="*/ 3794 h 252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55186" h="252911">
                  <a:moveTo>
                    <a:pt x="1265" y="3794"/>
                  </a:moveTo>
                  <a:lnTo>
                    <a:pt x="1265" y="3794"/>
                  </a:lnTo>
                  <a:lnTo>
                    <a:pt x="1265" y="3794"/>
                  </a:lnTo>
                  <a:lnTo>
                    <a:pt x="1265" y="3794"/>
                  </a:lnTo>
                  <a:cubicBezTo>
                    <a:pt x="1265" y="5058"/>
                    <a:pt x="1265" y="5058"/>
                    <a:pt x="1265" y="5058"/>
                  </a:cubicBezTo>
                  <a:cubicBezTo>
                    <a:pt x="1265" y="5058"/>
                    <a:pt x="1265" y="5058"/>
                    <a:pt x="1265" y="5058"/>
                  </a:cubicBezTo>
                  <a:lnTo>
                    <a:pt x="2529" y="12646"/>
                  </a:lnTo>
                  <a:lnTo>
                    <a:pt x="548863" y="252911"/>
                  </a:lnTo>
                  <a:lnTo>
                    <a:pt x="548863" y="250382"/>
                  </a:lnTo>
                  <a:cubicBezTo>
                    <a:pt x="548863" y="247853"/>
                    <a:pt x="550128" y="245324"/>
                    <a:pt x="552657" y="245324"/>
                  </a:cubicBezTo>
                  <a:cubicBezTo>
                    <a:pt x="553922" y="245324"/>
                    <a:pt x="555186" y="245324"/>
                    <a:pt x="555186" y="245324"/>
                  </a:cubicBezTo>
                  <a:lnTo>
                    <a:pt x="555186" y="245324"/>
                  </a:lnTo>
                  <a:lnTo>
                    <a:pt x="553922" y="24406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65" y="3794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51154505-84BD-4CDC-A871-9E66CFD8527E}"/>
                </a:ext>
              </a:extLst>
            </p:cNvPr>
            <p:cNvSpPr/>
            <p:nvPr/>
          </p:nvSpPr>
          <p:spPr>
            <a:xfrm>
              <a:off x="11656138" y="3530160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33DA2AFC-7B83-43F5-913D-FD6658D78B3D}"/>
                </a:ext>
              </a:extLst>
            </p:cNvPr>
            <p:cNvSpPr/>
            <p:nvPr/>
          </p:nvSpPr>
          <p:spPr>
            <a:xfrm>
              <a:off x="12210060" y="3776186"/>
              <a:ext cx="8852" cy="81493"/>
            </a:xfrm>
            <a:custGeom>
              <a:avLst/>
              <a:gdLst>
                <a:gd name="connsiteX0" fmla="*/ 7588 w 8852"/>
                <a:gd name="connsiteY0" fmla="*/ 1826 h 81493"/>
                <a:gd name="connsiteX1" fmla="*/ 7588 w 8852"/>
                <a:gd name="connsiteY1" fmla="*/ 1826 h 81493"/>
                <a:gd name="connsiteX2" fmla="*/ 7588 w 8852"/>
                <a:gd name="connsiteY2" fmla="*/ 562 h 81493"/>
                <a:gd name="connsiteX3" fmla="*/ 7588 w 8852"/>
                <a:gd name="connsiteY3" fmla="*/ 562 h 81493"/>
                <a:gd name="connsiteX4" fmla="*/ 6323 w 8852"/>
                <a:gd name="connsiteY4" fmla="*/ 562 h 81493"/>
                <a:gd name="connsiteX5" fmla="*/ 3794 w 8852"/>
                <a:gd name="connsiteY5" fmla="*/ 562 h 81493"/>
                <a:gd name="connsiteX6" fmla="*/ 0 w 8852"/>
                <a:gd name="connsiteY6" fmla="*/ 5620 h 81493"/>
                <a:gd name="connsiteX7" fmla="*/ 0 w 8852"/>
                <a:gd name="connsiteY7" fmla="*/ 8149 h 81493"/>
                <a:gd name="connsiteX8" fmla="*/ 8853 w 8852"/>
                <a:gd name="connsiteY8" fmla="*/ 81494 h 81493"/>
                <a:gd name="connsiteX9" fmla="*/ 7588 w 8852"/>
                <a:gd name="connsiteY9" fmla="*/ 1826 h 81493"/>
                <a:gd name="connsiteX10" fmla="*/ 7588 w 8852"/>
                <a:gd name="connsiteY10" fmla="*/ 1826 h 81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852" h="81493">
                  <a:moveTo>
                    <a:pt x="7588" y="1826"/>
                  </a:moveTo>
                  <a:lnTo>
                    <a:pt x="7588" y="1826"/>
                  </a:lnTo>
                  <a:lnTo>
                    <a:pt x="7588" y="562"/>
                  </a:lnTo>
                  <a:lnTo>
                    <a:pt x="7588" y="562"/>
                  </a:lnTo>
                  <a:lnTo>
                    <a:pt x="6323" y="562"/>
                  </a:lnTo>
                  <a:cubicBezTo>
                    <a:pt x="5059" y="562"/>
                    <a:pt x="3794" y="-703"/>
                    <a:pt x="3794" y="562"/>
                  </a:cubicBezTo>
                  <a:cubicBezTo>
                    <a:pt x="1265" y="562"/>
                    <a:pt x="0" y="3091"/>
                    <a:pt x="0" y="5620"/>
                  </a:cubicBezTo>
                  <a:lnTo>
                    <a:pt x="0" y="8149"/>
                  </a:lnTo>
                  <a:lnTo>
                    <a:pt x="8853" y="81494"/>
                  </a:lnTo>
                  <a:lnTo>
                    <a:pt x="7588" y="1826"/>
                  </a:lnTo>
                  <a:cubicBezTo>
                    <a:pt x="8853" y="3091"/>
                    <a:pt x="7588" y="1826"/>
                    <a:pt x="7588" y="1826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9BAB6178-07C8-445C-880E-958D76F1F5DC}"/>
                </a:ext>
              </a:extLst>
            </p:cNvPr>
            <p:cNvSpPr/>
            <p:nvPr/>
          </p:nvSpPr>
          <p:spPr>
            <a:xfrm>
              <a:off x="11492997" y="3530160"/>
              <a:ext cx="161876" cy="82196"/>
            </a:xfrm>
            <a:custGeom>
              <a:avLst/>
              <a:gdLst>
                <a:gd name="connsiteX0" fmla="*/ 0 w 161876"/>
                <a:gd name="connsiteY0" fmla="*/ 74609 h 82196"/>
                <a:gd name="connsiteX1" fmla="*/ 1265 w 161876"/>
                <a:gd name="connsiteY1" fmla="*/ 74609 h 82196"/>
                <a:gd name="connsiteX2" fmla="*/ 6323 w 161876"/>
                <a:gd name="connsiteY2" fmla="*/ 78402 h 82196"/>
                <a:gd name="connsiteX3" fmla="*/ 6323 w 161876"/>
                <a:gd name="connsiteY3" fmla="*/ 78402 h 82196"/>
                <a:gd name="connsiteX4" fmla="*/ 6323 w 161876"/>
                <a:gd name="connsiteY4" fmla="*/ 82196 h 82196"/>
                <a:gd name="connsiteX5" fmla="*/ 159347 w 161876"/>
                <a:gd name="connsiteY5" fmla="*/ 11381 h 82196"/>
                <a:gd name="connsiteX6" fmla="*/ 158083 w 161876"/>
                <a:gd name="connsiteY6" fmla="*/ 5058 h 82196"/>
                <a:gd name="connsiteX7" fmla="*/ 161877 w 161876"/>
                <a:gd name="connsiteY7" fmla="*/ 0 h 82196"/>
                <a:gd name="connsiteX8" fmla="*/ 160612 w 161876"/>
                <a:gd name="connsiteY8" fmla="*/ 0 h 82196"/>
                <a:gd name="connsiteX9" fmla="*/ 1265 w 161876"/>
                <a:gd name="connsiteY9" fmla="*/ 73344 h 82196"/>
                <a:gd name="connsiteX10" fmla="*/ 0 w 161876"/>
                <a:gd name="connsiteY10" fmla="*/ 74609 h 82196"/>
                <a:gd name="connsiteX11" fmla="*/ 0 w 161876"/>
                <a:gd name="connsiteY11" fmla="*/ 74609 h 82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1876" h="82196">
                  <a:moveTo>
                    <a:pt x="0" y="74609"/>
                  </a:moveTo>
                  <a:lnTo>
                    <a:pt x="1265" y="74609"/>
                  </a:lnTo>
                  <a:cubicBezTo>
                    <a:pt x="3794" y="74609"/>
                    <a:pt x="6323" y="75873"/>
                    <a:pt x="6323" y="78402"/>
                  </a:cubicBezTo>
                  <a:cubicBezTo>
                    <a:pt x="6323" y="78402"/>
                    <a:pt x="6323" y="78402"/>
                    <a:pt x="6323" y="78402"/>
                  </a:cubicBezTo>
                  <a:lnTo>
                    <a:pt x="6323" y="82196"/>
                  </a:lnTo>
                  <a:lnTo>
                    <a:pt x="159347" y="11381"/>
                  </a:lnTo>
                  <a:lnTo>
                    <a:pt x="158083" y="5058"/>
                  </a:lnTo>
                  <a:cubicBezTo>
                    <a:pt x="158083" y="2529"/>
                    <a:pt x="159347" y="0"/>
                    <a:pt x="161877" y="0"/>
                  </a:cubicBezTo>
                  <a:lnTo>
                    <a:pt x="160612" y="0"/>
                  </a:lnTo>
                  <a:lnTo>
                    <a:pt x="1265" y="73344"/>
                  </a:lnTo>
                  <a:lnTo>
                    <a:pt x="0" y="74609"/>
                  </a:lnTo>
                  <a:lnTo>
                    <a:pt x="0" y="74609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72CA074D-AE93-4BD3-8A9E-D0EFE2296E79}"/>
                </a:ext>
              </a:extLst>
            </p:cNvPr>
            <p:cNvSpPr/>
            <p:nvPr/>
          </p:nvSpPr>
          <p:spPr>
            <a:xfrm>
              <a:off x="11658668" y="3530160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6B6A139F-7FDC-4E14-8A32-E35DE6F36883}"/>
                </a:ext>
              </a:extLst>
            </p:cNvPr>
            <p:cNvSpPr/>
            <p:nvPr/>
          </p:nvSpPr>
          <p:spPr>
            <a:xfrm>
              <a:off x="11661197" y="3531424"/>
              <a:ext cx="12646" cy="948"/>
            </a:xfrm>
            <a:custGeom>
              <a:avLst/>
              <a:gdLst>
                <a:gd name="connsiteX0" fmla="*/ 0 w 12646"/>
                <a:gd name="connsiteY0" fmla="*/ 0 h 948"/>
                <a:gd name="connsiteX1" fmla="*/ 0 w 12646"/>
                <a:gd name="connsiteY1" fmla="*/ 0 h 948"/>
                <a:gd name="connsiteX2" fmla="*/ 0 w 12646"/>
                <a:gd name="connsiteY2" fmla="*/ 0 h 948"/>
                <a:gd name="connsiteX3" fmla="*/ 0 w 12646"/>
                <a:gd name="connsiteY3" fmla="*/ 0 h 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948">
                  <a:moveTo>
                    <a:pt x="0" y="0"/>
                  </a:moveTo>
                  <a:cubicBezTo>
                    <a:pt x="0" y="1265"/>
                    <a:pt x="0" y="1265"/>
                    <a:pt x="0" y="0"/>
                  </a:cubicBezTo>
                  <a:cubicBezTo>
                    <a:pt x="0" y="1265"/>
                    <a:pt x="0" y="1265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4DB9D68D-07A2-4F79-A56A-8AC332B792ED}"/>
                </a:ext>
              </a:extLst>
            </p:cNvPr>
            <p:cNvSpPr/>
            <p:nvPr/>
          </p:nvSpPr>
          <p:spPr>
            <a:xfrm>
              <a:off x="11656138" y="3528895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B773F57B-89EF-468C-9D51-82DC62B2C85D}"/>
                </a:ext>
              </a:extLst>
            </p:cNvPr>
            <p:cNvSpPr/>
            <p:nvPr/>
          </p:nvSpPr>
          <p:spPr>
            <a:xfrm>
              <a:off x="11652344" y="3531424"/>
              <a:ext cx="250403" cy="1716002"/>
            </a:xfrm>
            <a:custGeom>
              <a:avLst/>
              <a:gdLst>
                <a:gd name="connsiteX0" fmla="*/ 0 w 250403"/>
                <a:gd name="connsiteY0" fmla="*/ 3794 h 1716002"/>
                <a:gd name="connsiteX1" fmla="*/ 1265 w 250403"/>
                <a:gd name="connsiteY1" fmla="*/ 10117 h 1716002"/>
                <a:gd name="connsiteX2" fmla="*/ 241550 w 250403"/>
                <a:gd name="connsiteY2" fmla="*/ 1714738 h 1716002"/>
                <a:gd name="connsiteX3" fmla="*/ 244080 w 250403"/>
                <a:gd name="connsiteY3" fmla="*/ 1713474 h 1716002"/>
                <a:gd name="connsiteX4" fmla="*/ 250403 w 250403"/>
                <a:gd name="connsiteY4" fmla="*/ 1714738 h 1716002"/>
                <a:gd name="connsiteX5" fmla="*/ 250403 w 250403"/>
                <a:gd name="connsiteY5" fmla="*/ 1714738 h 1716002"/>
                <a:gd name="connsiteX6" fmla="*/ 250403 w 250403"/>
                <a:gd name="connsiteY6" fmla="*/ 1716003 h 1716002"/>
                <a:gd name="connsiteX7" fmla="*/ 250403 w 250403"/>
                <a:gd name="connsiteY7" fmla="*/ 1716003 h 1716002"/>
                <a:gd name="connsiteX8" fmla="*/ 250403 w 250403"/>
                <a:gd name="connsiteY8" fmla="*/ 1713474 h 1716002"/>
                <a:gd name="connsiteX9" fmla="*/ 10117 w 250403"/>
                <a:gd name="connsiteY9" fmla="*/ 10117 h 1716002"/>
                <a:gd name="connsiteX10" fmla="*/ 8853 w 250403"/>
                <a:gd name="connsiteY10" fmla="*/ 2529 h 1716002"/>
                <a:gd name="connsiteX11" fmla="*/ 8853 w 250403"/>
                <a:gd name="connsiteY11" fmla="*/ 2529 h 1716002"/>
                <a:gd name="connsiteX12" fmla="*/ 8853 w 250403"/>
                <a:gd name="connsiteY12" fmla="*/ 1265 h 1716002"/>
                <a:gd name="connsiteX13" fmla="*/ 8853 w 250403"/>
                <a:gd name="connsiteY13" fmla="*/ 0 h 1716002"/>
                <a:gd name="connsiteX14" fmla="*/ 8853 w 250403"/>
                <a:gd name="connsiteY14" fmla="*/ 0 h 1716002"/>
                <a:gd name="connsiteX15" fmla="*/ 7588 w 250403"/>
                <a:gd name="connsiteY15" fmla="*/ 0 h 1716002"/>
                <a:gd name="connsiteX16" fmla="*/ 7588 w 250403"/>
                <a:gd name="connsiteY16" fmla="*/ 0 h 1716002"/>
                <a:gd name="connsiteX17" fmla="*/ 5059 w 250403"/>
                <a:gd name="connsiteY17" fmla="*/ 0 h 1716002"/>
                <a:gd name="connsiteX18" fmla="*/ 5059 w 250403"/>
                <a:gd name="connsiteY18" fmla="*/ 0 h 1716002"/>
                <a:gd name="connsiteX19" fmla="*/ 5059 w 250403"/>
                <a:gd name="connsiteY19" fmla="*/ 0 h 1716002"/>
                <a:gd name="connsiteX20" fmla="*/ 0 w 250403"/>
                <a:gd name="connsiteY20" fmla="*/ 3794 h 1716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50403" h="1716002">
                  <a:moveTo>
                    <a:pt x="0" y="3794"/>
                  </a:moveTo>
                  <a:lnTo>
                    <a:pt x="1265" y="10117"/>
                  </a:lnTo>
                  <a:lnTo>
                    <a:pt x="241550" y="1714738"/>
                  </a:lnTo>
                  <a:lnTo>
                    <a:pt x="244080" y="1713474"/>
                  </a:lnTo>
                  <a:cubicBezTo>
                    <a:pt x="246609" y="1712209"/>
                    <a:pt x="249139" y="1713474"/>
                    <a:pt x="250403" y="1714738"/>
                  </a:cubicBezTo>
                  <a:cubicBezTo>
                    <a:pt x="250403" y="1714738"/>
                    <a:pt x="250403" y="1714738"/>
                    <a:pt x="250403" y="1714738"/>
                  </a:cubicBezTo>
                  <a:cubicBezTo>
                    <a:pt x="250403" y="1714738"/>
                    <a:pt x="250403" y="1716003"/>
                    <a:pt x="250403" y="1716003"/>
                  </a:cubicBezTo>
                  <a:lnTo>
                    <a:pt x="250403" y="1716003"/>
                  </a:lnTo>
                  <a:lnTo>
                    <a:pt x="250403" y="1713474"/>
                  </a:lnTo>
                  <a:lnTo>
                    <a:pt x="10117" y="10117"/>
                  </a:lnTo>
                  <a:lnTo>
                    <a:pt x="8853" y="2529"/>
                  </a:lnTo>
                  <a:lnTo>
                    <a:pt x="8853" y="2529"/>
                  </a:lnTo>
                  <a:cubicBezTo>
                    <a:pt x="8853" y="2529"/>
                    <a:pt x="8853" y="2529"/>
                    <a:pt x="8853" y="1265"/>
                  </a:cubicBezTo>
                  <a:lnTo>
                    <a:pt x="8853" y="0"/>
                  </a:lnTo>
                  <a:lnTo>
                    <a:pt x="8853" y="0"/>
                  </a:lnTo>
                  <a:lnTo>
                    <a:pt x="7588" y="0"/>
                  </a:lnTo>
                  <a:lnTo>
                    <a:pt x="7588" y="0"/>
                  </a:lnTo>
                  <a:lnTo>
                    <a:pt x="5059" y="0"/>
                  </a:lnTo>
                  <a:lnTo>
                    <a:pt x="5059" y="0"/>
                  </a:lnTo>
                  <a:lnTo>
                    <a:pt x="5059" y="0"/>
                  </a:lnTo>
                  <a:cubicBezTo>
                    <a:pt x="2529" y="0"/>
                    <a:pt x="0" y="1265"/>
                    <a:pt x="0" y="3794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EDB86795-C74D-4CE1-9A94-6B1BBEB92AE8}"/>
                </a:ext>
              </a:extLst>
            </p:cNvPr>
            <p:cNvSpPr/>
            <p:nvPr/>
          </p:nvSpPr>
          <p:spPr>
            <a:xfrm>
              <a:off x="11745929" y="5334681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389FC6E8-7686-4D3D-B8D0-FD8566B77AD1}"/>
                </a:ext>
              </a:extLst>
            </p:cNvPr>
            <p:cNvSpPr/>
            <p:nvPr/>
          </p:nvSpPr>
          <p:spPr>
            <a:xfrm>
              <a:off x="11744665" y="5333416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3E07FB1F-D5E1-41DF-8A4B-4E9AF4AF0391}"/>
                </a:ext>
              </a:extLst>
            </p:cNvPr>
            <p:cNvSpPr/>
            <p:nvPr/>
          </p:nvSpPr>
          <p:spPr>
            <a:xfrm>
              <a:off x="11489203" y="3603504"/>
              <a:ext cx="260520" cy="1727383"/>
            </a:xfrm>
            <a:custGeom>
              <a:avLst/>
              <a:gdLst>
                <a:gd name="connsiteX0" fmla="*/ 254197 w 260520"/>
                <a:gd name="connsiteY0" fmla="*/ 1727384 h 1727383"/>
                <a:gd name="connsiteX1" fmla="*/ 254197 w 260520"/>
                <a:gd name="connsiteY1" fmla="*/ 1727384 h 1727383"/>
                <a:gd name="connsiteX2" fmla="*/ 254197 w 260520"/>
                <a:gd name="connsiteY2" fmla="*/ 1727384 h 1727383"/>
                <a:gd name="connsiteX3" fmla="*/ 254197 w 260520"/>
                <a:gd name="connsiteY3" fmla="*/ 1727384 h 1727383"/>
                <a:gd name="connsiteX4" fmla="*/ 254197 w 260520"/>
                <a:gd name="connsiteY4" fmla="*/ 1726119 h 1727383"/>
                <a:gd name="connsiteX5" fmla="*/ 254197 w 260520"/>
                <a:gd name="connsiteY5" fmla="*/ 1724854 h 1727383"/>
                <a:gd name="connsiteX6" fmla="*/ 254197 w 260520"/>
                <a:gd name="connsiteY6" fmla="*/ 1724854 h 1727383"/>
                <a:gd name="connsiteX7" fmla="*/ 254197 w 260520"/>
                <a:gd name="connsiteY7" fmla="*/ 1724854 h 1727383"/>
                <a:gd name="connsiteX8" fmla="*/ 254197 w 260520"/>
                <a:gd name="connsiteY8" fmla="*/ 1723590 h 1727383"/>
                <a:gd name="connsiteX9" fmla="*/ 254197 w 260520"/>
                <a:gd name="connsiteY9" fmla="*/ 1723590 h 1727383"/>
                <a:gd name="connsiteX10" fmla="*/ 254197 w 260520"/>
                <a:gd name="connsiteY10" fmla="*/ 1723590 h 1727383"/>
                <a:gd name="connsiteX11" fmla="*/ 260520 w 260520"/>
                <a:gd name="connsiteY11" fmla="*/ 1719796 h 1727383"/>
                <a:gd name="connsiteX12" fmla="*/ 8853 w 260520"/>
                <a:gd name="connsiteY12" fmla="*/ 7587 h 1727383"/>
                <a:gd name="connsiteX13" fmla="*/ 8853 w 260520"/>
                <a:gd name="connsiteY13" fmla="*/ 3794 h 1727383"/>
                <a:gd name="connsiteX14" fmla="*/ 3794 w 260520"/>
                <a:gd name="connsiteY14" fmla="*/ 0 h 1727383"/>
                <a:gd name="connsiteX15" fmla="*/ 3794 w 260520"/>
                <a:gd name="connsiteY15" fmla="*/ 0 h 1727383"/>
                <a:gd name="connsiteX16" fmla="*/ 2529 w 260520"/>
                <a:gd name="connsiteY16" fmla="*/ 0 h 1727383"/>
                <a:gd name="connsiteX17" fmla="*/ 1265 w 260520"/>
                <a:gd name="connsiteY17" fmla="*/ 0 h 1727383"/>
                <a:gd name="connsiteX18" fmla="*/ 0 w 260520"/>
                <a:gd name="connsiteY18" fmla="*/ 0 h 1727383"/>
                <a:gd name="connsiteX19" fmla="*/ 0 w 260520"/>
                <a:gd name="connsiteY19" fmla="*/ 1265 h 1727383"/>
                <a:gd name="connsiteX20" fmla="*/ 0 w 260520"/>
                <a:gd name="connsiteY20" fmla="*/ 2529 h 1727383"/>
                <a:gd name="connsiteX21" fmla="*/ 0 w 260520"/>
                <a:gd name="connsiteY21" fmla="*/ 3794 h 1727383"/>
                <a:gd name="connsiteX22" fmla="*/ 0 w 260520"/>
                <a:gd name="connsiteY22" fmla="*/ 3794 h 1727383"/>
                <a:gd name="connsiteX23" fmla="*/ 0 w 260520"/>
                <a:gd name="connsiteY23" fmla="*/ 6323 h 1727383"/>
                <a:gd name="connsiteX24" fmla="*/ 251668 w 260520"/>
                <a:gd name="connsiteY24" fmla="*/ 1716003 h 1727383"/>
                <a:gd name="connsiteX25" fmla="*/ 254197 w 260520"/>
                <a:gd name="connsiteY25" fmla="*/ 1727384 h 1727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60520" h="1727383">
                  <a:moveTo>
                    <a:pt x="254197" y="1727384"/>
                  </a:moveTo>
                  <a:lnTo>
                    <a:pt x="254197" y="1727384"/>
                  </a:lnTo>
                  <a:lnTo>
                    <a:pt x="254197" y="1727384"/>
                  </a:lnTo>
                  <a:cubicBezTo>
                    <a:pt x="254197" y="1727384"/>
                    <a:pt x="254197" y="1727384"/>
                    <a:pt x="254197" y="1727384"/>
                  </a:cubicBezTo>
                  <a:cubicBezTo>
                    <a:pt x="254197" y="1726119"/>
                    <a:pt x="254197" y="1726119"/>
                    <a:pt x="254197" y="1726119"/>
                  </a:cubicBezTo>
                  <a:cubicBezTo>
                    <a:pt x="254197" y="1726119"/>
                    <a:pt x="254197" y="1726119"/>
                    <a:pt x="254197" y="1724854"/>
                  </a:cubicBezTo>
                  <a:lnTo>
                    <a:pt x="254197" y="1724854"/>
                  </a:lnTo>
                  <a:lnTo>
                    <a:pt x="254197" y="1724854"/>
                  </a:lnTo>
                  <a:lnTo>
                    <a:pt x="254197" y="1723590"/>
                  </a:lnTo>
                  <a:cubicBezTo>
                    <a:pt x="254197" y="1723590"/>
                    <a:pt x="254197" y="1723590"/>
                    <a:pt x="254197" y="1723590"/>
                  </a:cubicBezTo>
                  <a:lnTo>
                    <a:pt x="254197" y="1723590"/>
                  </a:lnTo>
                  <a:lnTo>
                    <a:pt x="260520" y="1719796"/>
                  </a:lnTo>
                  <a:lnTo>
                    <a:pt x="8853" y="7587"/>
                  </a:lnTo>
                  <a:lnTo>
                    <a:pt x="8853" y="3794"/>
                  </a:lnTo>
                  <a:cubicBezTo>
                    <a:pt x="8853" y="1265"/>
                    <a:pt x="6323" y="0"/>
                    <a:pt x="3794" y="0"/>
                  </a:cubicBezTo>
                  <a:cubicBezTo>
                    <a:pt x="3794" y="0"/>
                    <a:pt x="3794" y="0"/>
                    <a:pt x="3794" y="0"/>
                  </a:cubicBezTo>
                  <a:lnTo>
                    <a:pt x="2529" y="0"/>
                  </a:lnTo>
                  <a:lnTo>
                    <a:pt x="1265" y="0"/>
                  </a:lnTo>
                  <a:lnTo>
                    <a:pt x="0" y="0"/>
                  </a:lnTo>
                  <a:lnTo>
                    <a:pt x="0" y="1265"/>
                  </a:lnTo>
                  <a:cubicBezTo>
                    <a:pt x="0" y="1265"/>
                    <a:pt x="0" y="1265"/>
                    <a:pt x="0" y="2529"/>
                  </a:cubicBezTo>
                  <a:cubicBezTo>
                    <a:pt x="0" y="2529"/>
                    <a:pt x="0" y="3794"/>
                    <a:pt x="0" y="3794"/>
                  </a:cubicBezTo>
                  <a:lnTo>
                    <a:pt x="0" y="3794"/>
                  </a:lnTo>
                  <a:lnTo>
                    <a:pt x="0" y="6323"/>
                  </a:lnTo>
                  <a:lnTo>
                    <a:pt x="251668" y="1716003"/>
                  </a:lnTo>
                  <a:lnTo>
                    <a:pt x="254197" y="1727384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8DFCBDCC-2CBC-4438-A812-4D6E074F2267}"/>
                </a:ext>
              </a:extLst>
            </p:cNvPr>
            <p:cNvSpPr/>
            <p:nvPr/>
          </p:nvSpPr>
          <p:spPr>
            <a:xfrm>
              <a:off x="11745929" y="5330887"/>
              <a:ext cx="350311" cy="198535"/>
            </a:xfrm>
            <a:custGeom>
              <a:avLst/>
              <a:gdLst>
                <a:gd name="connsiteX0" fmla="*/ 0 w 350311"/>
                <a:gd name="connsiteY0" fmla="*/ 3794 h 198535"/>
                <a:gd name="connsiteX1" fmla="*/ 0 w 350311"/>
                <a:gd name="connsiteY1" fmla="*/ 3794 h 198535"/>
                <a:gd name="connsiteX2" fmla="*/ 0 w 350311"/>
                <a:gd name="connsiteY2" fmla="*/ 3794 h 198535"/>
                <a:gd name="connsiteX3" fmla="*/ 341459 w 350311"/>
                <a:gd name="connsiteY3" fmla="*/ 194742 h 198535"/>
                <a:gd name="connsiteX4" fmla="*/ 349047 w 350311"/>
                <a:gd name="connsiteY4" fmla="*/ 198535 h 198535"/>
                <a:gd name="connsiteX5" fmla="*/ 349047 w 350311"/>
                <a:gd name="connsiteY5" fmla="*/ 198535 h 198535"/>
                <a:gd name="connsiteX6" fmla="*/ 346518 w 350311"/>
                <a:gd name="connsiteY6" fmla="*/ 197271 h 198535"/>
                <a:gd name="connsiteX7" fmla="*/ 347782 w 350311"/>
                <a:gd name="connsiteY7" fmla="*/ 190948 h 198535"/>
                <a:gd name="connsiteX8" fmla="*/ 350311 w 350311"/>
                <a:gd name="connsiteY8" fmla="*/ 189683 h 198535"/>
                <a:gd name="connsiteX9" fmla="*/ 11382 w 350311"/>
                <a:gd name="connsiteY9" fmla="*/ 0 h 198535"/>
                <a:gd name="connsiteX10" fmla="*/ 3794 w 350311"/>
                <a:gd name="connsiteY10" fmla="*/ 3794 h 198535"/>
                <a:gd name="connsiteX11" fmla="*/ 0 w 350311"/>
                <a:gd name="connsiteY11" fmla="*/ 3794 h 198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0311" h="198535">
                  <a:moveTo>
                    <a:pt x="0" y="3794"/>
                  </a:moveTo>
                  <a:lnTo>
                    <a:pt x="0" y="3794"/>
                  </a:lnTo>
                  <a:lnTo>
                    <a:pt x="0" y="3794"/>
                  </a:lnTo>
                  <a:lnTo>
                    <a:pt x="341459" y="194742"/>
                  </a:lnTo>
                  <a:lnTo>
                    <a:pt x="349047" y="198535"/>
                  </a:lnTo>
                  <a:lnTo>
                    <a:pt x="349047" y="198535"/>
                  </a:lnTo>
                  <a:cubicBezTo>
                    <a:pt x="347782" y="198535"/>
                    <a:pt x="347782" y="197271"/>
                    <a:pt x="346518" y="197271"/>
                  </a:cubicBezTo>
                  <a:cubicBezTo>
                    <a:pt x="345253" y="194742"/>
                    <a:pt x="346518" y="192212"/>
                    <a:pt x="347782" y="190948"/>
                  </a:cubicBezTo>
                  <a:lnTo>
                    <a:pt x="350311" y="189683"/>
                  </a:lnTo>
                  <a:lnTo>
                    <a:pt x="11382" y="0"/>
                  </a:lnTo>
                  <a:lnTo>
                    <a:pt x="3794" y="3794"/>
                  </a:lnTo>
                  <a:cubicBezTo>
                    <a:pt x="2529" y="3794"/>
                    <a:pt x="1265" y="3794"/>
                    <a:pt x="0" y="3794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5AB4CDF7-361B-405A-8C2C-2F7319296996}"/>
                </a:ext>
              </a:extLst>
            </p:cNvPr>
            <p:cNvSpPr/>
            <p:nvPr/>
          </p:nvSpPr>
          <p:spPr>
            <a:xfrm>
              <a:off x="11744665" y="5333416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5AEF906C-20E0-42C1-9137-ACCCCF8FE39A}"/>
                </a:ext>
              </a:extLst>
            </p:cNvPr>
            <p:cNvSpPr/>
            <p:nvPr/>
          </p:nvSpPr>
          <p:spPr>
            <a:xfrm>
              <a:off x="11744665" y="5331590"/>
              <a:ext cx="12646" cy="562"/>
            </a:xfrm>
            <a:custGeom>
              <a:avLst/>
              <a:gdLst>
                <a:gd name="connsiteX0" fmla="*/ 0 w 12646"/>
                <a:gd name="connsiteY0" fmla="*/ 562 h 562"/>
                <a:gd name="connsiteX1" fmla="*/ 0 w 12646"/>
                <a:gd name="connsiteY1" fmla="*/ 562 h 562"/>
                <a:gd name="connsiteX2" fmla="*/ 0 w 12646"/>
                <a:gd name="connsiteY2" fmla="*/ 562 h 562"/>
                <a:gd name="connsiteX3" fmla="*/ 0 w 12646"/>
                <a:gd name="connsiteY3" fmla="*/ 562 h 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562">
                  <a:moveTo>
                    <a:pt x="0" y="562"/>
                  </a:moveTo>
                  <a:cubicBezTo>
                    <a:pt x="0" y="562"/>
                    <a:pt x="0" y="-703"/>
                    <a:pt x="0" y="562"/>
                  </a:cubicBezTo>
                  <a:lnTo>
                    <a:pt x="0" y="562"/>
                  </a:lnTo>
                  <a:cubicBezTo>
                    <a:pt x="0" y="-703"/>
                    <a:pt x="0" y="562"/>
                    <a:pt x="0" y="562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938AA424-343C-4E3A-BA34-ECAC8E91859C}"/>
                </a:ext>
              </a:extLst>
            </p:cNvPr>
            <p:cNvSpPr/>
            <p:nvPr/>
          </p:nvSpPr>
          <p:spPr>
            <a:xfrm>
              <a:off x="11744665" y="5328358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AB6EDD74-D585-43FC-9748-33B9A3337686}"/>
                </a:ext>
              </a:extLst>
            </p:cNvPr>
            <p:cNvSpPr/>
            <p:nvPr/>
          </p:nvSpPr>
          <p:spPr>
            <a:xfrm>
              <a:off x="11561289" y="3164703"/>
              <a:ext cx="54380" cy="312345"/>
            </a:xfrm>
            <a:custGeom>
              <a:avLst/>
              <a:gdLst>
                <a:gd name="connsiteX0" fmla="*/ 46792 w 54380"/>
                <a:gd name="connsiteY0" fmla="*/ 312345 h 312345"/>
                <a:gd name="connsiteX1" fmla="*/ 49322 w 54380"/>
                <a:gd name="connsiteY1" fmla="*/ 311081 h 312345"/>
                <a:gd name="connsiteX2" fmla="*/ 54380 w 54380"/>
                <a:gd name="connsiteY2" fmla="*/ 308552 h 312345"/>
                <a:gd name="connsiteX3" fmla="*/ 11382 w 54380"/>
                <a:gd name="connsiteY3" fmla="*/ 5058 h 312345"/>
                <a:gd name="connsiteX4" fmla="*/ 3794 w 54380"/>
                <a:gd name="connsiteY4" fmla="*/ 2529 h 312345"/>
                <a:gd name="connsiteX5" fmla="*/ 2529 w 54380"/>
                <a:gd name="connsiteY5" fmla="*/ 2529 h 312345"/>
                <a:gd name="connsiteX6" fmla="*/ 1265 w 54380"/>
                <a:gd name="connsiteY6" fmla="*/ 2529 h 312345"/>
                <a:gd name="connsiteX7" fmla="*/ 0 w 54380"/>
                <a:gd name="connsiteY7" fmla="*/ 1264 h 312345"/>
                <a:gd name="connsiteX8" fmla="*/ 0 w 54380"/>
                <a:gd name="connsiteY8" fmla="*/ 1264 h 312345"/>
                <a:gd name="connsiteX9" fmla="*/ 0 w 54380"/>
                <a:gd name="connsiteY9" fmla="*/ 1264 h 312345"/>
                <a:gd name="connsiteX10" fmla="*/ 0 w 54380"/>
                <a:gd name="connsiteY10" fmla="*/ 0 h 312345"/>
                <a:gd name="connsiteX11" fmla="*/ 0 w 54380"/>
                <a:gd name="connsiteY11" fmla="*/ 0 h 312345"/>
                <a:gd name="connsiteX12" fmla="*/ 46792 w 54380"/>
                <a:gd name="connsiteY12" fmla="*/ 312345 h 312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380" h="312345">
                  <a:moveTo>
                    <a:pt x="46792" y="312345"/>
                  </a:moveTo>
                  <a:lnTo>
                    <a:pt x="49322" y="311081"/>
                  </a:lnTo>
                  <a:lnTo>
                    <a:pt x="54380" y="308552"/>
                  </a:lnTo>
                  <a:lnTo>
                    <a:pt x="11382" y="5058"/>
                  </a:lnTo>
                  <a:lnTo>
                    <a:pt x="3794" y="2529"/>
                  </a:lnTo>
                  <a:lnTo>
                    <a:pt x="2529" y="2529"/>
                  </a:lnTo>
                  <a:lnTo>
                    <a:pt x="1265" y="2529"/>
                  </a:lnTo>
                  <a:cubicBezTo>
                    <a:pt x="1265" y="2529"/>
                    <a:pt x="1265" y="1264"/>
                    <a:pt x="0" y="1264"/>
                  </a:cubicBezTo>
                  <a:lnTo>
                    <a:pt x="0" y="1264"/>
                  </a:lnTo>
                  <a:lnTo>
                    <a:pt x="0" y="1264"/>
                  </a:lnTo>
                  <a:cubicBezTo>
                    <a:pt x="0" y="1264"/>
                    <a:pt x="0" y="0"/>
                    <a:pt x="0" y="0"/>
                  </a:cubicBezTo>
                  <a:lnTo>
                    <a:pt x="0" y="0"/>
                  </a:lnTo>
                  <a:lnTo>
                    <a:pt x="46792" y="312345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C011B45D-DDFB-4469-8033-DC91D61C0DE3}"/>
                </a:ext>
              </a:extLst>
            </p:cNvPr>
            <p:cNvSpPr/>
            <p:nvPr/>
          </p:nvSpPr>
          <p:spPr>
            <a:xfrm>
              <a:off x="11566347" y="3158380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ADA054F1-619E-4C88-983B-BFD04A1B7EE9}"/>
                </a:ext>
              </a:extLst>
            </p:cNvPr>
            <p:cNvSpPr/>
            <p:nvPr/>
          </p:nvSpPr>
          <p:spPr>
            <a:xfrm>
              <a:off x="11563818" y="3159644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FCC07B4B-48E6-4FF5-AEB8-0B99D650BFE0}"/>
                </a:ext>
              </a:extLst>
            </p:cNvPr>
            <p:cNvSpPr/>
            <p:nvPr/>
          </p:nvSpPr>
          <p:spPr>
            <a:xfrm>
              <a:off x="11958393" y="3325301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77A91F53-875B-49C4-B4A2-1459B941959F}"/>
                </a:ext>
              </a:extLst>
            </p:cNvPr>
            <p:cNvSpPr/>
            <p:nvPr/>
          </p:nvSpPr>
          <p:spPr>
            <a:xfrm>
              <a:off x="11566347" y="3160909"/>
              <a:ext cx="390780" cy="161863"/>
            </a:xfrm>
            <a:custGeom>
              <a:avLst/>
              <a:gdLst>
                <a:gd name="connsiteX0" fmla="*/ 0 w 390780"/>
                <a:gd name="connsiteY0" fmla="*/ 5058 h 161863"/>
                <a:gd name="connsiteX1" fmla="*/ 0 w 390780"/>
                <a:gd name="connsiteY1" fmla="*/ 5058 h 161863"/>
                <a:gd name="connsiteX2" fmla="*/ 7588 w 390780"/>
                <a:gd name="connsiteY2" fmla="*/ 7587 h 161863"/>
                <a:gd name="connsiteX3" fmla="*/ 376869 w 390780"/>
                <a:gd name="connsiteY3" fmla="*/ 161863 h 161863"/>
                <a:gd name="connsiteX4" fmla="*/ 386987 w 390780"/>
                <a:gd name="connsiteY4" fmla="*/ 156805 h 161863"/>
                <a:gd name="connsiteX5" fmla="*/ 390780 w 390780"/>
                <a:gd name="connsiteY5" fmla="*/ 156805 h 161863"/>
                <a:gd name="connsiteX6" fmla="*/ 390780 w 390780"/>
                <a:gd name="connsiteY6" fmla="*/ 156805 h 161863"/>
                <a:gd name="connsiteX7" fmla="*/ 13911 w 390780"/>
                <a:gd name="connsiteY7" fmla="*/ 0 h 161863"/>
                <a:gd name="connsiteX8" fmla="*/ 3794 w 390780"/>
                <a:gd name="connsiteY8" fmla="*/ 3794 h 161863"/>
                <a:gd name="connsiteX9" fmla="*/ 0 w 390780"/>
                <a:gd name="connsiteY9" fmla="*/ 5058 h 161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0780" h="161863">
                  <a:moveTo>
                    <a:pt x="0" y="5058"/>
                  </a:moveTo>
                  <a:lnTo>
                    <a:pt x="0" y="5058"/>
                  </a:lnTo>
                  <a:lnTo>
                    <a:pt x="7588" y="7587"/>
                  </a:lnTo>
                  <a:lnTo>
                    <a:pt x="376869" y="161863"/>
                  </a:lnTo>
                  <a:lnTo>
                    <a:pt x="386987" y="156805"/>
                  </a:lnTo>
                  <a:cubicBezTo>
                    <a:pt x="388251" y="155540"/>
                    <a:pt x="389516" y="155540"/>
                    <a:pt x="390780" y="156805"/>
                  </a:cubicBezTo>
                  <a:lnTo>
                    <a:pt x="390780" y="156805"/>
                  </a:lnTo>
                  <a:lnTo>
                    <a:pt x="13911" y="0"/>
                  </a:lnTo>
                  <a:lnTo>
                    <a:pt x="3794" y="3794"/>
                  </a:lnTo>
                  <a:cubicBezTo>
                    <a:pt x="2529" y="5058"/>
                    <a:pt x="1265" y="5058"/>
                    <a:pt x="0" y="5058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90687C56-A0C3-4458-BE60-E626EEEA5C9A}"/>
                </a:ext>
              </a:extLst>
            </p:cNvPr>
            <p:cNvSpPr/>
            <p:nvPr/>
          </p:nvSpPr>
          <p:spPr>
            <a:xfrm>
              <a:off x="11563818" y="3159644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  <a:gd name="connsiteX4" fmla="*/ 0 w 12646"/>
                <a:gd name="connsiteY4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B2989B43-335C-4530-9CA0-C7DA71B6DDA5}"/>
                </a:ext>
              </a:extLst>
            </p:cNvPr>
            <p:cNvSpPr/>
            <p:nvPr/>
          </p:nvSpPr>
          <p:spPr>
            <a:xfrm>
              <a:off x="11565083" y="3158380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8E68BE0F-5BEA-4AEE-9587-BDC12857B62E}"/>
                </a:ext>
              </a:extLst>
            </p:cNvPr>
            <p:cNvSpPr/>
            <p:nvPr/>
          </p:nvSpPr>
          <p:spPr>
            <a:xfrm>
              <a:off x="11592905" y="4914848"/>
              <a:ext cx="17705" cy="17269"/>
            </a:xfrm>
            <a:custGeom>
              <a:avLst/>
              <a:gdLst>
                <a:gd name="connsiteX0" fmla="*/ 2529 w 17705"/>
                <a:gd name="connsiteY0" fmla="*/ 8852 h 17269"/>
                <a:gd name="connsiteX1" fmla="*/ 2529 w 17705"/>
                <a:gd name="connsiteY1" fmla="*/ 8852 h 17269"/>
                <a:gd name="connsiteX2" fmla="*/ 0 w 17705"/>
                <a:gd name="connsiteY2" fmla="*/ 15174 h 17269"/>
                <a:gd name="connsiteX3" fmla="*/ 6323 w 17705"/>
                <a:gd name="connsiteY3" fmla="*/ 16439 h 17269"/>
                <a:gd name="connsiteX4" fmla="*/ 6323 w 17705"/>
                <a:gd name="connsiteY4" fmla="*/ 16439 h 17269"/>
                <a:gd name="connsiteX5" fmla="*/ 6323 w 17705"/>
                <a:gd name="connsiteY5" fmla="*/ 16439 h 17269"/>
                <a:gd name="connsiteX6" fmla="*/ 7588 w 17705"/>
                <a:gd name="connsiteY6" fmla="*/ 15174 h 17269"/>
                <a:gd name="connsiteX7" fmla="*/ 13911 w 17705"/>
                <a:gd name="connsiteY7" fmla="*/ 12646 h 17269"/>
                <a:gd name="connsiteX8" fmla="*/ 17705 w 17705"/>
                <a:gd name="connsiteY8" fmla="*/ 10116 h 17269"/>
                <a:gd name="connsiteX9" fmla="*/ 16441 w 17705"/>
                <a:gd name="connsiteY9" fmla="*/ 3794 h 17269"/>
                <a:gd name="connsiteX10" fmla="*/ 16441 w 17705"/>
                <a:gd name="connsiteY10" fmla="*/ 3794 h 17269"/>
                <a:gd name="connsiteX11" fmla="*/ 16441 w 17705"/>
                <a:gd name="connsiteY11" fmla="*/ 0 h 17269"/>
                <a:gd name="connsiteX12" fmla="*/ 3794 w 17705"/>
                <a:gd name="connsiteY12" fmla="*/ 6323 h 17269"/>
                <a:gd name="connsiteX13" fmla="*/ 2529 w 17705"/>
                <a:gd name="connsiteY13" fmla="*/ 8852 h 17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705" h="17269">
                  <a:moveTo>
                    <a:pt x="2529" y="8852"/>
                  </a:moveTo>
                  <a:lnTo>
                    <a:pt x="2529" y="8852"/>
                  </a:lnTo>
                  <a:cubicBezTo>
                    <a:pt x="0" y="10116"/>
                    <a:pt x="0" y="12646"/>
                    <a:pt x="0" y="15174"/>
                  </a:cubicBezTo>
                  <a:cubicBezTo>
                    <a:pt x="1265" y="17704"/>
                    <a:pt x="3794" y="17704"/>
                    <a:pt x="6323" y="16439"/>
                  </a:cubicBezTo>
                  <a:lnTo>
                    <a:pt x="6323" y="16439"/>
                  </a:lnTo>
                  <a:lnTo>
                    <a:pt x="6323" y="16439"/>
                  </a:lnTo>
                  <a:lnTo>
                    <a:pt x="7588" y="15174"/>
                  </a:lnTo>
                  <a:lnTo>
                    <a:pt x="13911" y="12646"/>
                  </a:lnTo>
                  <a:lnTo>
                    <a:pt x="17705" y="10116"/>
                  </a:lnTo>
                  <a:lnTo>
                    <a:pt x="16441" y="3794"/>
                  </a:lnTo>
                  <a:lnTo>
                    <a:pt x="16441" y="3794"/>
                  </a:lnTo>
                  <a:lnTo>
                    <a:pt x="16441" y="0"/>
                  </a:lnTo>
                  <a:lnTo>
                    <a:pt x="3794" y="6323"/>
                  </a:lnTo>
                  <a:lnTo>
                    <a:pt x="2529" y="8852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FD275A21-E52A-470A-B6FA-2C118B6E8124}"/>
                </a:ext>
              </a:extLst>
            </p:cNvPr>
            <p:cNvSpPr/>
            <p:nvPr/>
          </p:nvSpPr>
          <p:spPr>
            <a:xfrm>
              <a:off x="11745929" y="5243633"/>
              <a:ext cx="156818" cy="91996"/>
            </a:xfrm>
            <a:custGeom>
              <a:avLst/>
              <a:gdLst>
                <a:gd name="connsiteX0" fmla="*/ 150495 w 156818"/>
                <a:gd name="connsiteY0" fmla="*/ 0 h 91996"/>
                <a:gd name="connsiteX1" fmla="*/ 147966 w 156818"/>
                <a:gd name="connsiteY1" fmla="*/ 1264 h 91996"/>
                <a:gd name="connsiteX2" fmla="*/ 6323 w 156818"/>
                <a:gd name="connsiteY2" fmla="*/ 79667 h 91996"/>
                <a:gd name="connsiteX3" fmla="*/ 0 w 156818"/>
                <a:gd name="connsiteY3" fmla="*/ 83460 h 91996"/>
                <a:gd name="connsiteX4" fmla="*/ 0 w 156818"/>
                <a:gd name="connsiteY4" fmla="*/ 83460 h 91996"/>
                <a:gd name="connsiteX5" fmla="*/ 0 w 156818"/>
                <a:gd name="connsiteY5" fmla="*/ 83460 h 91996"/>
                <a:gd name="connsiteX6" fmla="*/ 0 w 156818"/>
                <a:gd name="connsiteY6" fmla="*/ 84725 h 91996"/>
                <a:gd name="connsiteX7" fmla="*/ 0 w 156818"/>
                <a:gd name="connsiteY7" fmla="*/ 85990 h 91996"/>
                <a:gd name="connsiteX8" fmla="*/ 0 w 156818"/>
                <a:gd name="connsiteY8" fmla="*/ 87254 h 91996"/>
                <a:gd name="connsiteX9" fmla="*/ 0 w 156818"/>
                <a:gd name="connsiteY9" fmla="*/ 88519 h 91996"/>
                <a:gd name="connsiteX10" fmla="*/ 0 w 156818"/>
                <a:gd name="connsiteY10" fmla="*/ 89783 h 91996"/>
                <a:gd name="connsiteX11" fmla="*/ 0 w 156818"/>
                <a:gd name="connsiteY11" fmla="*/ 91048 h 91996"/>
                <a:gd name="connsiteX12" fmla="*/ 0 w 156818"/>
                <a:gd name="connsiteY12" fmla="*/ 91048 h 91996"/>
                <a:gd name="connsiteX13" fmla="*/ 0 w 156818"/>
                <a:gd name="connsiteY13" fmla="*/ 91048 h 91996"/>
                <a:gd name="connsiteX14" fmla="*/ 0 w 156818"/>
                <a:gd name="connsiteY14" fmla="*/ 91048 h 91996"/>
                <a:gd name="connsiteX15" fmla="*/ 0 w 156818"/>
                <a:gd name="connsiteY15" fmla="*/ 91048 h 91996"/>
                <a:gd name="connsiteX16" fmla="*/ 0 w 156818"/>
                <a:gd name="connsiteY16" fmla="*/ 91048 h 91996"/>
                <a:gd name="connsiteX17" fmla="*/ 0 w 156818"/>
                <a:gd name="connsiteY17" fmla="*/ 91048 h 91996"/>
                <a:gd name="connsiteX18" fmla="*/ 5059 w 156818"/>
                <a:gd name="connsiteY18" fmla="*/ 91048 h 91996"/>
                <a:gd name="connsiteX19" fmla="*/ 12647 w 156818"/>
                <a:gd name="connsiteY19" fmla="*/ 87254 h 91996"/>
                <a:gd name="connsiteX20" fmla="*/ 153024 w 156818"/>
                <a:gd name="connsiteY20" fmla="*/ 10116 h 91996"/>
                <a:gd name="connsiteX21" fmla="*/ 155554 w 156818"/>
                <a:gd name="connsiteY21" fmla="*/ 8852 h 91996"/>
                <a:gd name="connsiteX22" fmla="*/ 155554 w 156818"/>
                <a:gd name="connsiteY22" fmla="*/ 8852 h 91996"/>
                <a:gd name="connsiteX23" fmla="*/ 156818 w 156818"/>
                <a:gd name="connsiteY23" fmla="*/ 8852 h 91996"/>
                <a:gd name="connsiteX24" fmla="*/ 156818 w 156818"/>
                <a:gd name="connsiteY24" fmla="*/ 8852 h 91996"/>
                <a:gd name="connsiteX25" fmla="*/ 156818 w 156818"/>
                <a:gd name="connsiteY25" fmla="*/ 8852 h 91996"/>
                <a:gd name="connsiteX26" fmla="*/ 156818 w 156818"/>
                <a:gd name="connsiteY26" fmla="*/ 7587 h 91996"/>
                <a:gd name="connsiteX27" fmla="*/ 156818 w 156818"/>
                <a:gd name="connsiteY27" fmla="*/ 7587 h 91996"/>
                <a:gd name="connsiteX28" fmla="*/ 156818 w 156818"/>
                <a:gd name="connsiteY28" fmla="*/ 6323 h 91996"/>
                <a:gd name="connsiteX29" fmla="*/ 156818 w 156818"/>
                <a:gd name="connsiteY29" fmla="*/ 5058 h 91996"/>
                <a:gd name="connsiteX30" fmla="*/ 150495 w 156818"/>
                <a:gd name="connsiteY30" fmla="*/ 0 h 91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56818" h="91996">
                  <a:moveTo>
                    <a:pt x="150495" y="0"/>
                  </a:moveTo>
                  <a:lnTo>
                    <a:pt x="147966" y="1264"/>
                  </a:lnTo>
                  <a:lnTo>
                    <a:pt x="6323" y="79667"/>
                  </a:lnTo>
                  <a:lnTo>
                    <a:pt x="0" y="83460"/>
                  </a:lnTo>
                  <a:lnTo>
                    <a:pt x="0" y="83460"/>
                  </a:lnTo>
                  <a:cubicBezTo>
                    <a:pt x="0" y="83460"/>
                    <a:pt x="0" y="83460"/>
                    <a:pt x="0" y="83460"/>
                  </a:cubicBezTo>
                  <a:lnTo>
                    <a:pt x="0" y="84725"/>
                  </a:lnTo>
                  <a:lnTo>
                    <a:pt x="0" y="85990"/>
                  </a:lnTo>
                  <a:cubicBezTo>
                    <a:pt x="0" y="85990"/>
                    <a:pt x="0" y="85990"/>
                    <a:pt x="0" y="87254"/>
                  </a:cubicBezTo>
                  <a:cubicBezTo>
                    <a:pt x="0" y="87254"/>
                    <a:pt x="0" y="87254"/>
                    <a:pt x="0" y="88519"/>
                  </a:cubicBezTo>
                  <a:cubicBezTo>
                    <a:pt x="0" y="88519"/>
                    <a:pt x="0" y="88519"/>
                    <a:pt x="0" y="89783"/>
                  </a:cubicBezTo>
                  <a:cubicBezTo>
                    <a:pt x="0" y="89783"/>
                    <a:pt x="0" y="91048"/>
                    <a:pt x="0" y="91048"/>
                  </a:cubicBezTo>
                  <a:lnTo>
                    <a:pt x="0" y="91048"/>
                  </a:lnTo>
                  <a:lnTo>
                    <a:pt x="0" y="91048"/>
                  </a:lnTo>
                  <a:lnTo>
                    <a:pt x="0" y="91048"/>
                  </a:lnTo>
                  <a:lnTo>
                    <a:pt x="0" y="91048"/>
                  </a:lnTo>
                  <a:lnTo>
                    <a:pt x="0" y="91048"/>
                  </a:lnTo>
                  <a:lnTo>
                    <a:pt x="0" y="91048"/>
                  </a:lnTo>
                  <a:cubicBezTo>
                    <a:pt x="1265" y="92312"/>
                    <a:pt x="3794" y="92312"/>
                    <a:pt x="5059" y="91048"/>
                  </a:cubicBezTo>
                  <a:lnTo>
                    <a:pt x="12647" y="87254"/>
                  </a:lnTo>
                  <a:lnTo>
                    <a:pt x="153024" y="10116"/>
                  </a:lnTo>
                  <a:lnTo>
                    <a:pt x="155554" y="8852"/>
                  </a:lnTo>
                  <a:lnTo>
                    <a:pt x="155554" y="8852"/>
                  </a:lnTo>
                  <a:cubicBezTo>
                    <a:pt x="155554" y="8852"/>
                    <a:pt x="156818" y="8852"/>
                    <a:pt x="156818" y="8852"/>
                  </a:cubicBezTo>
                  <a:lnTo>
                    <a:pt x="156818" y="8852"/>
                  </a:lnTo>
                  <a:lnTo>
                    <a:pt x="156818" y="8852"/>
                  </a:lnTo>
                  <a:lnTo>
                    <a:pt x="156818" y="7587"/>
                  </a:lnTo>
                  <a:lnTo>
                    <a:pt x="156818" y="7587"/>
                  </a:lnTo>
                  <a:cubicBezTo>
                    <a:pt x="156818" y="7587"/>
                    <a:pt x="156818" y="6323"/>
                    <a:pt x="156818" y="6323"/>
                  </a:cubicBezTo>
                  <a:cubicBezTo>
                    <a:pt x="156818" y="6323"/>
                    <a:pt x="156818" y="5058"/>
                    <a:pt x="156818" y="5058"/>
                  </a:cubicBezTo>
                  <a:cubicBezTo>
                    <a:pt x="153024" y="0"/>
                    <a:pt x="151759" y="0"/>
                    <a:pt x="150495" y="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B6B69980-4BEB-42F3-BF7F-F8C8DE32AE58}"/>
                </a:ext>
              </a:extLst>
            </p:cNvPr>
            <p:cNvSpPr/>
            <p:nvPr/>
          </p:nvSpPr>
          <p:spPr>
            <a:xfrm>
              <a:off x="12092881" y="5449755"/>
              <a:ext cx="126032" cy="79666"/>
            </a:xfrm>
            <a:custGeom>
              <a:avLst/>
              <a:gdLst>
                <a:gd name="connsiteX0" fmla="*/ 2095 w 126032"/>
                <a:gd name="connsiteY0" fmla="*/ 72080 h 79666"/>
                <a:gd name="connsiteX1" fmla="*/ 830 w 126032"/>
                <a:gd name="connsiteY1" fmla="*/ 78403 h 79666"/>
                <a:gd name="connsiteX2" fmla="*/ 3360 w 126032"/>
                <a:gd name="connsiteY2" fmla="*/ 79667 h 79666"/>
                <a:gd name="connsiteX3" fmla="*/ 4625 w 126032"/>
                <a:gd name="connsiteY3" fmla="*/ 79667 h 79666"/>
                <a:gd name="connsiteX4" fmla="*/ 5889 w 126032"/>
                <a:gd name="connsiteY4" fmla="*/ 79667 h 79666"/>
                <a:gd name="connsiteX5" fmla="*/ 7154 w 126032"/>
                <a:gd name="connsiteY5" fmla="*/ 79667 h 79666"/>
                <a:gd name="connsiteX6" fmla="*/ 7154 w 126032"/>
                <a:gd name="connsiteY6" fmla="*/ 79667 h 79666"/>
                <a:gd name="connsiteX7" fmla="*/ 126032 w 126032"/>
                <a:gd name="connsiteY7" fmla="*/ 11381 h 79666"/>
                <a:gd name="connsiteX8" fmla="*/ 126032 w 126032"/>
                <a:gd name="connsiteY8" fmla="*/ 0 h 79666"/>
                <a:gd name="connsiteX9" fmla="*/ 4625 w 126032"/>
                <a:gd name="connsiteY9" fmla="*/ 69551 h 79666"/>
                <a:gd name="connsiteX10" fmla="*/ 2095 w 126032"/>
                <a:gd name="connsiteY10" fmla="*/ 72080 h 79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6032" h="79666">
                  <a:moveTo>
                    <a:pt x="2095" y="72080"/>
                  </a:moveTo>
                  <a:cubicBezTo>
                    <a:pt x="-434" y="73344"/>
                    <a:pt x="-434" y="75873"/>
                    <a:pt x="830" y="78403"/>
                  </a:cubicBezTo>
                  <a:cubicBezTo>
                    <a:pt x="830" y="79667"/>
                    <a:pt x="2095" y="79667"/>
                    <a:pt x="3360" y="79667"/>
                  </a:cubicBezTo>
                  <a:lnTo>
                    <a:pt x="4625" y="79667"/>
                  </a:lnTo>
                  <a:lnTo>
                    <a:pt x="5889" y="79667"/>
                  </a:lnTo>
                  <a:lnTo>
                    <a:pt x="7154" y="79667"/>
                  </a:lnTo>
                  <a:lnTo>
                    <a:pt x="7154" y="79667"/>
                  </a:lnTo>
                  <a:lnTo>
                    <a:pt x="126032" y="11381"/>
                  </a:lnTo>
                  <a:lnTo>
                    <a:pt x="126032" y="0"/>
                  </a:lnTo>
                  <a:lnTo>
                    <a:pt x="4625" y="69551"/>
                  </a:lnTo>
                  <a:lnTo>
                    <a:pt x="2095" y="7208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8B39D33D-54BB-467C-8DD7-845314A288B0}"/>
                </a:ext>
              </a:extLst>
            </p:cNvPr>
            <p:cNvSpPr/>
            <p:nvPr/>
          </p:nvSpPr>
          <p:spPr>
            <a:xfrm>
              <a:off x="10694995" y="6322299"/>
              <a:ext cx="789149" cy="531113"/>
            </a:xfrm>
            <a:custGeom>
              <a:avLst/>
              <a:gdLst>
                <a:gd name="connsiteX0" fmla="*/ 7588 w 789149"/>
                <a:gd name="connsiteY0" fmla="*/ 3794 h 531113"/>
                <a:gd name="connsiteX1" fmla="*/ 3794 w 789149"/>
                <a:gd name="connsiteY1" fmla="*/ 8852 h 531113"/>
                <a:gd name="connsiteX2" fmla="*/ 3794 w 789149"/>
                <a:gd name="connsiteY2" fmla="*/ 8852 h 531113"/>
                <a:gd name="connsiteX3" fmla="*/ 0 w 789149"/>
                <a:gd name="connsiteY3" fmla="*/ 7587 h 531113"/>
                <a:gd name="connsiteX4" fmla="*/ 772708 w 789149"/>
                <a:gd name="connsiteY4" fmla="*/ 531114 h 531113"/>
                <a:gd name="connsiteX5" fmla="*/ 789149 w 789149"/>
                <a:gd name="connsiteY5" fmla="*/ 531114 h 531113"/>
                <a:gd name="connsiteX6" fmla="*/ 6323 w 789149"/>
                <a:gd name="connsiteY6" fmla="*/ 0 h 531113"/>
                <a:gd name="connsiteX7" fmla="*/ 7588 w 789149"/>
                <a:gd name="connsiteY7" fmla="*/ 3794 h 531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9149" h="531113">
                  <a:moveTo>
                    <a:pt x="7588" y="3794"/>
                  </a:moveTo>
                  <a:cubicBezTo>
                    <a:pt x="7588" y="6323"/>
                    <a:pt x="6323" y="8852"/>
                    <a:pt x="3794" y="8852"/>
                  </a:cubicBezTo>
                  <a:cubicBezTo>
                    <a:pt x="3794" y="8852"/>
                    <a:pt x="3794" y="8852"/>
                    <a:pt x="3794" y="8852"/>
                  </a:cubicBezTo>
                  <a:cubicBezTo>
                    <a:pt x="2529" y="8852"/>
                    <a:pt x="1265" y="8852"/>
                    <a:pt x="0" y="7587"/>
                  </a:cubicBezTo>
                  <a:lnTo>
                    <a:pt x="772708" y="531114"/>
                  </a:lnTo>
                  <a:lnTo>
                    <a:pt x="789149" y="531114"/>
                  </a:lnTo>
                  <a:lnTo>
                    <a:pt x="6323" y="0"/>
                  </a:lnTo>
                  <a:lnTo>
                    <a:pt x="7588" y="3794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5573E499-74AD-420D-B859-2D9773FCFCDD}"/>
                </a:ext>
              </a:extLst>
            </p:cNvPr>
            <p:cNvSpPr/>
            <p:nvPr/>
          </p:nvSpPr>
          <p:spPr>
            <a:xfrm>
              <a:off x="10364919" y="6280569"/>
              <a:ext cx="322488" cy="190947"/>
            </a:xfrm>
            <a:custGeom>
              <a:avLst/>
              <a:gdLst>
                <a:gd name="connsiteX0" fmla="*/ 319959 w 322488"/>
                <a:gd name="connsiteY0" fmla="*/ 0 h 190947"/>
                <a:gd name="connsiteX1" fmla="*/ 2529 w 322488"/>
                <a:gd name="connsiteY1" fmla="*/ 180831 h 190947"/>
                <a:gd name="connsiteX2" fmla="*/ 0 w 322488"/>
                <a:gd name="connsiteY2" fmla="*/ 182096 h 190947"/>
                <a:gd name="connsiteX3" fmla="*/ 2529 w 322488"/>
                <a:gd name="connsiteY3" fmla="*/ 183361 h 190947"/>
                <a:gd name="connsiteX4" fmla="*/ 3794 w 322488"/>
                <a:gd name="connsiteY4" fmla="*/ 189683 h 190947"/>
                <a:gd name="connsiteX5" fmla="*/ 1265 w 322488"/>
                <a:gd name="connsiteY5" fmla="*/ 190948 h 190947"/>
                <a:gd name="connsiteX6" fmla="*/ 2529 w 322488"/>
                <a:gd name="connsiteY6" fmla="*/ 190948 h 190947"/>
                <a:gd name="connsiteX7" fmla="*/ 322489 w 322488"/>
                <a:gd name="connsiteY7" fmla="*/ 8852 h 190947"/>
                <a:gd name="connsiteX8" fmla="*/ 321224 w 322488"/>
                <a:gd name="connsiteY8" fmla="*/ 2529 h 190947"/>
                <a:gd name="connsiteX9" fmla="*/ 319959 w 322488"/>
                <a:gd name="connsiteY9" fmla="*/ 0 h 190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2488" h="190947">
                  <a:moveTo>
                    <a:pt x="319959" y="0"/>
                  </a:moveTo>
                  <a:lnTo>
                    <a:pt x="2529" y="180831"/>
                  </a:lnTo>
                  <a:lnTo>
                    <a:pt x="0" y="182096"/>
                  </a:lnTo>
                  <a:lnTo>
                    <a:pt x="2529" y="183361"/>
                  </a:lnTo>
                  <a:cubicBezTo>
                    <a:pt x="5059" y="184625"/>
                    <a:pt x="5059" y="187154"/>
                    <a:pt x="3794" y="189683"/>
                  </a:cubicBezTo>
                  <a:cubicBezTo>
                    <a:pt x="3794" y="190948"/>
                    <a:pt x="2529" y="190948"/>
                    <a:pt x="1265" y="190948"/>
                  </a:cubicBezTo>
                  <a:lnTo>
                    <a:pt x="2529" y="190948"/>
                  </a:lnTo>
                  <a:lnTo>
                    <a:pt x="322489" y="8852"/>
                  </a:lnTo>
                  <a:lnTo>
                    <a:pt x="321224" y="2529"/>
                  </a:lnTo>
                  <a:lnTo>
                    <a:pt x="319959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E92CBB22-E2C7-4B1A-9D67-A91049D6D1FA}"/>
                </a:ext>
              </a:extLst>
            </p:cNvPr>
            <p:cNvSpPr/>
            <p:nvPr/>
          </p:nvSpPr>
          <p:spPr>
            <a:xfrm>
              <a:off x="10362389" y="6471517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D8B07029-F336-41D2-B14F-4F0CC7B75D87}"/>
                </a:ext>
              </a:extLst>
            </p:cNvPr>
            <p:cNvSpPr/>
            <p:nvPr/>
          </p:nvSpPr>
          <p:spPr>
            <a:xfrm>
              <a:off x="9928927" y="6159605"/>
              <a:ext cx="438521" cy="313175"/>
            </a:xfrm>
            <a:custGeom>
              <a:avLst/>
              <a:gdLst>
                <a:gd name="connsiteX0" fmla="*/ 438522 w 438521"/>
                <a:gd name="connsiteY0" fmla="*/ 304324 h 313175"/>
                <a:gd name="connsiteX1" fmla="*/ 435992 w 438521"/>
                <a:gd name="connsiteY1" fmla="*/ 303060 h 313175"/>
                <a:gd name="connsiteX2" fmla="*/ 428404 w 438521"/>
                <a:gd name="connsiteY2" fmla="*/ 298001 h 313175"/>
                <a:gd name="connsiteX3" fmla="*/ 8537 w 438521"/>
                <a:gd name="connsiteY3" fmla="*/ 2095 h 313175"/>
                <a:gd name="connsiteX4" fmla="*/ 7272 w 438521"/>
                <a:gd name="connsiteY4" fmla="*/ 831 h 313175"/>
                <a:gd name="connsiteX5" fmla="*/ 948 w 438521"/>
                <a:gd name="connsiteY5" fmla="*/ 2095 h 313175"/>
                <a:gd name="connsiteX6" fmla="*/ 948 w 438521"/>
                <a:gd name="connsiteY6" fmla="*/ 2095 h 313175"/>
                <a:gd name="connsiteX7" fmla="*/ 948 w 438521"/>
                <a:gd name="connsiteY7" fmla="*/ 7153 h 313175"/>
                <a:gd name="connsiteX8" fmla="*/ 948 w 438521"/>
                <a:gd name="connsiteY8" fmla="*/ 8418 h 313175"/>
                <a:gd name="connsiteX9" fmla="*/ 2213 w 438521"/>
                <a:gd name="connsiteY9" fmla="*/ 9682 h 313175"/>
                <a:gd name="connsiteX10" fmla="*/ 2213 w 438521"/>
                <a:gd name="connsiteY10" fmla="*/ 9682 h 313175"/>
                <a:gd name="connsiteX11" fmla="*/ 432198 w 438521"/>
                <a:gd name="connsiteY11" fmla="*/ 313176 h 313175"/>
                <a:gd name="connsiteX12" fmla="*/ 432198 w 438521"/>
                <a:gd name="connsiteY12" fmla="*/ 313176 h 313175"/>
                <a:gd name="connsiteX13" fmla="*/ 432198 w 438521"/>
                <a:gd name="connsiteY13" fmla="*/ 313176 h 313175"/>
                <a:gd name="connsiteX14" fmla="*/ 433463 w 438521"/>
                <a:gd name="connsiteY14" fmla="*/ 313176 h 313175"/>
                <a:gd name="connsiteX15" fmla="*/ 435992 w 438521"/>
                <a:gd name="connsiteY15" fmla="*/ 313176 h 313175"/>
                <a:gd name="connsiteX16" fmla="*/ 435992 w 438521"/>
                <a:gd name="connsiteY16" fmla="*/ 313176 h 313175"/>
                <a:gd name="connsiteX17" fmla="*/ 435992 w 438521"/>
                <a:gd name="connsiteY17" fmla="*/ 313176 h 313175"/>
                <a:gd name="connsiteX18" fmla="*/ 438522 w 438521"/>
                <a:gd name="connsiteY18" fmla="*/ 304324 h 313175"/>
                <a:gd name="connsiteX19" fmla="*/ 435992 w 438521"/>
                <a:gd name="connsiteY19" fmla="*/ 303060 h 313175"/>
                <a:gd name="connsiteX20" fmla="*/ 438522 w 438521"/>
                <a:gd name="connsiteY20" fmla="*/ 304324 h 313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38521" h="313175">
                  <a:moveTo>
                    <a:pt x="438522" y="304324"/>
                  </a:moveTo>
                  <a:lnTo>
                    <a:pt x="435992" y="303060"/>
                  </a:lnTo>
                  <a:lnTo>
                    <a:pt x="428404" y="298001"/>
                  </a:lnTo>
                  <a:lnTo>
                    <a:pt x="8537" y="2095"/>
                  </a:lnTo>
                  <a:lnTo>
                    <a:pt x="7272" y="831"/>
                  </a:lnTo>
                  <a:cubicBezTo>
                    <a:pt x="4743" y="-434"/>
                    <a:pt x="2213" y="-434"/>
                    <a:pt x="948" y="2095"/>
                  </a:cubicBezTo>
                  <a:cubicBezTo>
                    <a:pt x="948" y="2095"/>
                    <a:pt x="948" y="2095"/>
                    <a:pt x="948" y="2095"/>
                  </a:cubicBezTo>
                  <a:cubicBezTo>
                    <a:pt x="-316" y="3360"/>
                    <a:pt x="-316" y="4624"/>
                    <a:pt x="948" y="7153"/>
                  </a:cubicBezTo>
                  <a:lnTo>
                    <a:pt x="948" y="8418"/>
                  </a:lnTo>
                  <a:lnTo>
                    <a:pt x="2213" y="9682"/>
                  </a:lnTo>
                  <a:lnTo>
                    <a:pt x="2213" y="9682"/>
                  </a:lnTo>
                  <a:lnTo>
                    <a:pt x="432198" y="313176"/>
                  </a:lnTo>
                  <a:lnTo>
                    <a:pt x="432198" y="313176"/>
                  </a:lnTo>
                  <a:lnTo>
                    <a:pt x="432198" y="313176"/>
                  </a:lnTo>
                  <a:lnTo>
                    <a:pt x="433463" y="313176"/>
                  </a:lnTo>
                  <a:lnTo>
                    <a:pt x="435992" y="313176"/>
                  </a:lnTo>
                  <a:lnTo>
                    <a:pt x="435992" y="313176"/>
                  </a:lnTo>
                  <a:lnTo>
                    <a:pt x="435992" y="313176"/>
                  </a:lnTo>
                  <a:cubicBezTo>
                    <a:pt x="437257" y="310647"/>
                    <a:pt x="438522" y="308118"/>
                    <a:pt x="438522" y="304324"/>
                  </a:cubicBezTo>
                  <a:cubicBezTo>
                    <a:pt x="437257" y="304324"/>
                    <a:pt x="437257" y="304324"/>
                    <a:pt x="435992" y="303060"/>
                  </a:cubicBezTo>
                  <a:lnTo>
                    <a:pt x="438522" y="304324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A8062039-FCDB-4F3C-BF88-A71F5DBB16C9}"/>
                </a:ext>
              </a:extLst>
            </p:cNvPr>
            <p:cNvSpPr/>
            <p:nvPr/>
          </p:nvSpPr>
          <p:spPr>
            <a:xfrm>
              <a:off x="9217871" y="2471726"/>
              <a:ext cx="552657" cy="2458296"/>
            </a:xfrm>
            <a:custGeom>
              <a:avLst/>
              <a:gdLst>
                <a:gd name="connsiteX0" fmla="*/ 547598 w 552657"/>
                <a:gd name="connsiteY0" fmla="*/ 2453239 h 2458296"/>
                <a:gd name="connsiteX1" fmla="*/ 552657 w 552657"/>
                <a:gd name="connsiteY1" fmla="*/ 2457032 h 2458296"/>
                <a:gd name="connsiteX2" fmla="*/ 552657 w 552657"/>
                <a:gd name="connsiteY2" fmla="*/ 2457032 h 2458296"/>
                <a:gd name="connsiteX3" fmla="*/ 11382 w 552657"/>
                <a:gd name="connsiteY3" fmla="*/ 7587 h 2458296"/>
                <a:gd name="connsiteX4" fmla="*/ 10117 w 552657"/>
                <a:gd name="connsiteY4" fmla="*/ 2529 h 2458296"/>
                <a:gd name="connsiteX5" fmla="*/ 6323 w 552657"/>
                <a:gd name="connsiteY5" fmla="*/ 3794 h 2458296"/>
                <a:gd name="connsiteX6" fmla="*/ 0 w 552657"/>
                <a:gd name="connsiteY6" fmla="*/ 1265 h 2458296"/>
                <a:gd name="connsiteX7" fmla="*/ 0 w 552657"/>
                <a:gd name="connsiteY7" fmla="*/ 1265 h 2458296"/>
                <a:gd name="connsiteX8" fmla="*/ 0 w 552657"/>
                <a:gd name="connsiteY8" fmla="*/ 0 h 2458296"/>
                <a:gd name="connsiteX9" fmla="*/ 0 w 552657"/>
                <a:gd name="connsiteY9" fmla="*/ 0 h 2458296"/>
                <a:gd name="connsiteX10" fmla="*/ 0 w 552657"/>
                <a:gd name="connsiteY10" fmla="*/ 0 h 2458296"/>
                <a:gd name="connsiteX11" fmla="*/ 542540 w 552657"/>
                <a:gd name="connsiteY11" fmla="*/ 2454504 h 2458296"/>
                <a:gd name="connsiteX12" fmla="*/ 543805 w 552657"/>
                <a:gd name="connsiteY12" fmla="*/ 2458297 h 2458296"/>
                <a:gd name="connsiteX13" fmla="*/ 547598 w 552657"/>
                <a:gd name="connsiteY13" fmla="*/ 2453239 h 2458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2657" h="2458296">
                  <a:moveTo>
                    <a:pt x="547598" y="2453239"/>
                  </a:moveTo>
                  <a:cubicBezTo>
                    <a:pt x="550128" y="2453239"/>
                    <a:pt x="552657" y="2454504"/>
                    <a:pt x="552657" y="2457032"/>
                  </a:cubicBezTo>
                  <a:cubicBezTo>
                    <a:pt x="552657" y="2457032"/>
                    <a:pt x="552657" y="2457032"/>
                    <a:pt x="552657" y="2457032"/>
                  </a:cubicBezTo>
                  <a:lnTo>
                    <a:pt x="11382" y="7587"/>
                  </a:lnTo>
                  <a:lnTo>
                    <a:pt x="10117" y="2529"/>
                  </a:lnTo>
                  <a:lnTo>
                    <a:pt x="6323" y="3794"/>
                  </a:lnTo>
                  <a:cubicBezTo>
                    <a:pt x="3794" y="5058"/>
                    <a:pt x="1265" y="3794"/>
                    <a:pt x="0" y="1265"/>
                  </a:cubicBezTo>
                  <a:cubicBezTo>
                    <a:pt x="0" y="1265"/>
                    <a:pt x="0" y="1265"/>
                    <a:pt x="0" y="1265"/>
                  </a:cubicBezTo>
                  <a:cubicBezTo>
                    <a:pt x="0" y="1265"/>
                    <a:pt x="0" y="0"/>
                    <a:pt x="0" y="0"/>
                  </a:cubicBezTo>
                  <a:lnTo>
                    <a:pt x="0" y="0"/>
                  </a:lnTo>
                  <a:lnTo>
                    <a:pt x="0" y="0"/>
                  </a:lnTo>
                  <a:lnTo>
                    <a:pt x="542540" y="2454504"/>
                  </a:lnTo>
                  <a:lnTo>
                    <a:pt x="543805" y="2458297"/>
                  </a:lnTo>
                  <a:cubicBezTo>
                    <a:pt x="543805" y="2455768"/>
                    <a:pt x="545069" y="2453239"/>
                    <a:pt x="547598" y="2453239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7D157834-92B7-4366-A503-C388AECC88F3}"/>
                </a:ext>
              </a:extLst>
            </p:cNvPr>
            <p:cNvSpPr/>
            <p:nvPr/>
          </p:nvSpPr>
          <p:spPr>
            <a:xfrm>
              <a:off x="9221665" y="2466668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  <a:gd name="connsiteX4" fmla="*/ 0 w 12646"/>
                <a:gd name="connsiteY4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63DDDEBB-3ABB-41DD-9CC0-E724575D5E47}"/>
                </a:ext>
              </a:extLst>
            </p:cNvPr>
            <p:cNvSpPr/>
            <p:nvPr/>
          </p:nvSpPr>
          <p:spPr>
            <a:xfrm>
              <a:off x="9219135" y="2467932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0A949B89-4925-4EAC-8AA0-2DE0ED6756D0}"/>
                </a:ext>
              </a:extLst>
            </p:cNvPr>
            <p:cNvSpPr/>
            <p:nvPr/>
          </p:nvSpPr>
          <p:spPr>
            <a:xfrm>
              <a:off x="9219135" y="2469197"/>
              <a:ext cx="12646" cy="948"/>
            </a:xfrm>
            <a:custGeom>
              <a:avLst/>
              <a:gdLst>
                <a:gd name="connsiteX0" fmla="*/ 0 w 12646"/>
                <a:gd name="connsiteY0" fmla="*/ 0 h 948"/>
                <a:gd name="connsiteX1" fmla="*/ 0 w 12646"/>
                <a:gd name="connsiteY1" fmla="*/ 0 h 948"/>
                <a:gd name="connsiteX2" fmla="*/ 0 w 12646"/>
                <a:gd name="connsiteY2" fmla="*/ 0 h 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948">
                  <a:moveTo>
                    <a:pt x="0" y="0"/>
                  </a:moveTo>
                  <a:cubicBezTo>
                    <a:pt x="0" y="0"/>
                    <a:pt x="0" y="1264"/>
                    <a:pt x="0" y="0"/>
                  </a:cubicBezTo>
                  <a:cubicBezTo>
                    <a:pt x="0" y="1264"/>
                    <a:pt x="0" y="1264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025B45F2-0E2A-445B-B2CF-ADDA64269245}"/>
                </a:ext>
              </a:extLst>
            </p:cNvPr>
            <p:cNvSpPr/>
            <p:nvPr/>
          </p:nvSpPr>
          <p:spPr>
            <a:xfrm>
              <a:off x="10684878" y="6281833"/>
              <a:ext cx="17705" cy="49317"/>
            </a:xfrm>
            <a:custGeom>
              <a:avLst/>
              <a:gdLst>
                <a:gd name="connsiteX0" fmla="*/ 17705 w 17705"/>
                <a:gd name="connsiteY0" fmla="*/ 44259 h 49317"/>
                <a:gd name="connsiteX1" fmla="*/ 17705 w 17705"/>
                <a:gd name="connsiteY1" fmla="*/ 42995 h 49317"/>
                <a:gd name="connsiteX2" fmla="*/ 8853 w 17705"/>
                <a:gd name="connsiteY2" fmla="*/ 0 h 49317"/>
                <a:gd name="connsiteX3" fmla="*/ 5059 w 17705"/>
                <a:gd name="connsiteY3" fmla="*/ 5059 h 49317"/>
                <a:gd name="connsiteX4" fmla="*/ 0 w 17705"/>
                <a:gd name="connsiteY4" fmla="*/ 1265 h 49317"/>
                <a:gd name="connsiteX5" fmla="*/ 1265 w 17705"/>
                <a:gd name="connsiteY5" fmla="*/ 7587 h 49317"/>
                <a:gd name="connsiteX6" fmla="*/ 8853 w 17705"/>
                <a:gd name="connsiteY6" fmla="*/ 45524 h 49317"/>
                <a:gd name="connsiteX7" fmla="*/ 8853 w 17705"/>
                <a:gd name="connsiteY7" fmla="*/ 45524 h 49317"/>
                <a:gd name="connsiteX8" fmla="*/ 8853 w 17705"/>
                <a:gd name="connsiteY8" fmla="*/ 45524 h 49317"/>
                <a:gd name="connsiteX9" fmla="*/ 10117 w 17705"/>
                <a:gd name="connsiteY9" fmla="*/ 46789 h 49317"/>
                <a:gd name="connsiteX10" fmla="*/ 11382 w 17705"/>
                <a:gd name="connsiteY10" fmla="*/ 48053 h 49317"/>
                <a:gd name="connsiteX11" fmla="*/ 11382 w 17705"/>
                <a:gd name="connsiteY11" fmla="*/ 48053 h 49317"/>
                <a:gd name="connsiteX12" fmla="*/ 15176 w 17705"/>
                <a:gd name="connsiteY12" fmla="*/ 49318 h 49317"/>
                <a:gd name="connsiteX13" fmla="*/ 17705 w 17705"/>
                <a:gd name="connsiteY13" fmla="*/ 44259 h 4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705" h="49317">
                  <a:moveTo>
                    <a:pt x="17705" y="44259"/>
                  </a:moveTo>
                  <a:lnTo>
                    <a:pt x="17705" y="42995"/>
                  </a:lnTo>
                  <a:lnTo>
                    <a:pt x="8853" y="0"/>
                  </a:lnTo>
                  <a:cubicBezTo>
                    <a:pt x="8853" y="2529"/>
                    <a:pt x="7588" y="5059"/>
                    <a:pt x="5059" y="5059"/>
                  </a:cubicBezTo>
                  <a:cubicBezTo>
                    <a:pt x="2529" y="5059"/>
                    <a:pt x="1265" y="3794"/>
                    <a:pt x="0" y="1265"/>
                  </a:cubicBezTo>
                  <a:lnTo>
                    <a:pt x="1265" y="7587"/>
                  </a:lnTo>
                  <a:lnTo>
                    <a:pt x="8853" y="45524"/>
                  </a:lnTo>
                  <a:lnTo>
                    <a:pt x="8853" y="45524"/>
                  </a:lnTo>
                  <a:lnTo>
                    <a:pt x="8853" y="45524"/>
                  </a:lnTo>
                  <a:cubicBezTo>
                    <a:pt x="8853" y="45524"/>
                    <a:pt x="8853" y="46789"/>
                    <a:pt x="10117" y="46789"/>
                  </a:cubicBezTo>
                  <a:cubicBezTo>
                    <a:pt x="10117" y="46789"/>
                    <a:pt x="10117" y="48053"/>
                    <a:pt x="11382" y="48053"/>
                  </a:cubicBezTo>
                  <a:lnTo>
                    <a:pt x="11382" y="48053"/>
                  </a:lnTo>
                  <a:cubicBezTo>
                    <a:pt x="12647" y="49318"/>
                    <a:pt x="13911" y="49318"/>
                    <a:pt x="15176" y="49318"/>
                  </a:cubicBezTo>
                  <a:cubicBezTo>
                    <a:pt x="16441" y="48053"/>
                    <a:pt x="17705" y="46789"/>
                    <a:pt x="17705" y="44259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176728C5-9D49-48A7-9E36-74EF8BA972D8}"/>
                </a:ext>
              </a:extLst>
            </p:cNvPr>
            <p:cNvSpPr/>
            <p:nvPr/>
          </p:nvSpPr>
          <p:spPr>
            <a:xfrm>
              <a:off x="10603940" y="5870852"/>
              <a:ext cx="92320" cy="416535"/>
            </a:xfrm>
            <a:custGeom>
              <a:avLst/>
              <a:gdLst>
                <a:gd name="connsiteX0" fmla="*/ 6323 w 92320"/>
                <a:gd name="connsiteY0" fmla="*/ 2529 h 416535"/>
                <a:gd name="connsiteX1" fmla="*/ 0 w 92320"/>
                <a:gd name="connsiteY1" fmla="*/ 1265 h 416535"/>
                <a:gd name="connsiteX2" fmla="*/ 0 w 92320"/>
                <a:gd name="connsiteY2" fmla="*/ 0 h 416535"/>
                <a:gd name="connsiteX3" fmla="*/ 0 w 92320"/>
                <a:gd name="connsiteY3" fmla="*/ 0 h 416535"/>
                <a:gd name="connsiteX4" fmla="*/ 0 w 92320"/>
                <a:gd name="connsiteY4" fmla="*/ 0 h 416535"/>
                <a:gd name="connsiteX5" fmla="*/ 80938 w 92320"/>
                <a:gd name="connsiteY5" fmla="*/ 409716 h 416535"/>
                <a:gd name="connsiteX6" fmla="*/ 82203 w 92320"/>
                <a:gd name="connsiteY6" fmla="*/ 413510 h 416535"/>
                <a:gd name="connsiteX7" fmla="*/ 88526 w 92320"/>
                <a:gd name="connsiteY7" fmla="*/ 416039 h 416535"/>
                <a:gd name="connsiteX8" fmla="*/ 92320 w 92320"/>
                <a:gd name="connsiteY8" fmla="*/ 410981 h 416535"/>
                <a:gd name="connsiteX9" fmla="*/ 13911 w 92320"/>
                <a:gd name="connsiteY9" fmla="*/ 7587 h 416535"/>
                <a:gd name="connsiteX10" fmla="*/ 12647 w 92320"/>
                <a:gd name="connsiteY10" fmla="*/ 0 h 416535"/>
                <a:gd name="connsiteX11" fmla="*/ 6323 w 92320"/>
                <a:gd name="connsiteY11" fmla="*/ 2529 h 416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320" h="416535">
                  <a:moveTo>
                    <a:pt x="6323" y="2529"/>
                  </a:moveTo>
                  <a:cubicBezTo>
                    <a:pt x="3794" y="3794"/>
                    <a:pt x="1265" y="2529"/>
                    <a:pt x="0" y="1265"/>
                  </a:cubicBezTo>
                  <a:cubicBezTo>
                    <a:pt x="0" y="1265"/>
                    <a:pt x="0" y="0"/>
                    <a:pt x="0" y="0"/>
                  </a:cubicBezTo>
                  <a:lnTo>
                    <a:pt x="0" y="0"/>
                  </a:lnTo>
                  <a:lnTo>
                    <a:pt x="0" y="0"/>
                  </a:lnTo>
                  <a:lnTo>
                    <a:pt x="80938" y="409716"/>
                  </a:lnTo>
                  <a:lnTo>
                    <a:pt x="82203" y="413510"/>
                  </a:lnTo>
                  <a:cubicBezTo>
                    <a:pt x="83468" y="416039"/>
                    <a:pt x="85997" y="417304"/>
                    <a:pt x="88526" y="416039"/>
                  </a:cubicBezTo>
                  <a:cubicBezTo>
                    <a:pt x="91056" y="414775"/>
                    <a:pt x="92320" y="413510"/>
                    <a:pt x="92320" y="410981"/>
                  </a:cubicBezTo>
                  <a:lnTo>
                    <a:pt x="13911" y="7587"/>
                  </a:lnTo>
                  <a:lnTo>
                    <a:pt x="12647" y="0"/>
                  </a:lnTo>
                  <a:lnTo>
                    <a:pt x="6323" y="2529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94FFC976-01F0-4C0D-915D-18ADF71F265F}"/>
                </a:ext>
              </a:extLst>
            </p:cNvPr>
            <p:cNvSpPr/>
            <p:nvPr/>
          </p:nvSpPr>
          <p:spPr>
            <a:xfrm>
              <a:off x="10605205" y="5865794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  <a:gd name="connsiteX3" fmla="*/ 0 w 12646"/>
                <a:gd name="connsiteY3" fmla="*/ 0 h 12645"/>
                <a:gd name="connsiteX4" fmla="*/ 0 w 12646"/>
                <a:gd name="connsiteY4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090278A1-7B7A-439D-8155-402D3512D533}"/>
                </a:ext>
              </a:extLst>
            </p:cNvPr>
            <p:cNvSpPr/>
            <p:nvPr/>
          </p:nvSpPr>
          <p:spPr>
            <a:xfrm>
              <a:off x="10603940" y="5868324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35BDAEFE-17BE-4764-A3AF-F30324B2329F}"/>
                </a:ext>
              </a:extLst>
            </p:cNvPr>
            <p:cNvSpPr/>
            <p:nvPr/>
          </p:nvSpPr>
          <p:spPr>
            <a:xfrm>
              <a:off x="10603940" y="5866497"/>
              <a:ext cx="12646" cy="562"/>
            </a:xfrm>
            <a:custGeom>
              <a:avLst/>
              <a:gdLst>
                <a:gd name="connsiteX0" fmla="*/ 0 w 12646"/>
                <a:gd name="connsiteY0" fmla="*/ 562 h 562"/>
                <a:gd name="connsiteX1" fmla="*/ 0 w 12646"/>
                <a:gd name="connsiteY1" fmla="*/ 562 h 562"/>
                <a:gd name="connsiteX2" fmla="*/ 0 w 12646"/>
                <a:gd name="connsiteY2" fmla="*/ 562 h 562"/>
                <a:gd name="connsiteX3" fmla="*/ 0 w 12646"/>
                <a:gd name="connsiteY3" fmla="*/ 562 h 562"/>
                <a:gd name="connsiteX4" fmla="*/ 0 w 12646"/>
                <a:gd name="connsiteY4" fmla="*/ 562 h 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46" h="562">
                  <a:moveTo>
                    <a:pt x="0" y="562"/>
                  </a:moveTo>
                  <a:lnTo>
                    <a:pt x="0" y="562"/>
                  </a:lnTo>
                  <a:lnTo>
                    <a:pt x="0" y="562"/>
                  </a:lnTo>
                  <a:lnTo>
                    <a:pt x="0" y="562"/>
                  </a:lnTo>
                  <a:cubicBezTo>
                    <a:pt x="0" y="-703"/>
                    <a:pt x="0" y="562"/>
                    <a:pt x="0" y="562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505CA17E-3C92-48FF-9391-DEB9DC7B81A5}"/>
                </a:ext>
              </a:extLst>
            </p:cNvPr>
            <p:cNvSpPr/>
            <p:nvPr/>
          </p:nvSpPr>
          <p:spPr>
            <a:xfrm>
              <a:off x="11223624" y="5118442"/>
              <a:ext cx="67027" cy="362927"/>
            </a:xfrm>
            <a:custGeom>
              <a:avLst/>
              <a:gdLst>
                <a:gd name="connsiteX0" fmla="*/ 5059 w 67027"/>
                <a:gd name="connsiteY0" fmla="*/ 0 h 362927"/>
                <a:gd name="connsiteX1" fmla="*/ 5059 w 67027"/>
                <a:gd name="connsiteY1" fmla="*/ 0 h 362927"/>
                <a:gd name="connsiteX2" fmla="*/ 2529 w 67027"/>
                <a:gd name="connsiteY2" fmla="*/ 0 h 362927"/>
                <a:gd name="connsiteX3" fmla="*/ 1265 w 67027"/>
                <a:gd name="connsiteY3" fmla="*/ 0 h 362927"/>
                <a:gd name="connsiteX4" fmla="*/ 1265 w 67027"/>
                <a:gd name="connsiteY4" fmla="*/ 0 h 362927"/>
                <a:gd name="connsiteX5" fmla="*/ 0 w 67027"/>
                <a:gd name="connsiteY5" fmla="*/ 0 h 362927"/>
                <a:gd name="connsiteX6" fmla="*/ 0 w 67027"/>
                <a:gd name="connsiteY6" fmla="*/ 0 h 362927"/>
                <a:gd name="connsiteX7" fmla="*/ 0 w 67027"/>
                <a:gd name="connsiteY7" fmla="*/ 1265 h 362927"/>
                <a:gd name="connsiteX8" fmla="*/ 0 w 67027"/>
                <a:gd name="connsiteY8" fmla="*/ 2529 h 362927"/>
                <a:gd name="connsiteX9" fmla="*/ 0 w 67027"/>
                <a:gd name="connsiteY9" fmla="*/ 3794 h 362927"/>
                <a:gd name="connsiteX10" fmla="*/ 0 w 67027"/>
                <a:gd name="connsiteY10" fmla="*/ 3794 h 362927"/>
                <a:gd name="connsiteX11" fmla="*/ 0 w 67027"/>
                <a:gd name="connsiteY11" fmla="*/ 6323 h 362927"/>
                <a:gd name="connsiteX12" fmla="*/ 58175 w 67027"/>
                <a:gd name="connsiteY12" fmla="*/ 359134 h 362927"/>
                <a:gd name="connsiteX13" fmla="*/ 58175 w 67027"/>
                <a:gd name="connsiteY13" fmla="*/ 362928 h 362927"/>
                <a:gd name="connsiteX14" fmla="*/ 61968 w 67027"/>
                <a:gd name="connsiteY14" fmla="*/ 357870 h 362927"/>
                <a:gd name="connsiteX15" fmla="*/ 61968 w 67027"/>
                <a:gd name="connsiteY15" fmla="*/ 357870 h 362927"/>
                <a:gd name="connsiteX16" fmla="*/ 67027 w 67027"/>
                <a:gd name="connsiteY16" fmla="*/ 361663 h 362927"/>
                <a:gd name="connsiteX17" fmla="*/ 67027 w 67027"/>
                <a:gd name="connsiteY17" fmla="*/ 361663 h 362927"/>
                <a:gd name="connsiteX18" fmla="*/ 8853 w 67027"/>
                <a:gd name="connsiteY18" fmla="*/ 13910 h 362927"/>
                <a:gd name="connsiteX19" fmla="*/ 7588 w 67027"/>
                <a:gd name="connsiteY19" fmla="*/ 3794 h 362927"/>
                <a:gd name="connsiteX20" fmla="*/ 5059 w 67027"/>
                <a:gd name="connsiteY20" fmla="*/ 0 h 362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7027" h="362927">
                  <a:moveTo>
                    <a:pt x="5059" y="0"/>
                  </a:moveTo>
                  <a:lnTo>
                    <a:pt x="5059" y="0"/>
                  </a:lnTo>
                  <a:lnTo>
                    <a:pt x="2529" y="0"/>
                  </a:lnTo>
                  <a:lnTo>
                    <a:pt x="1265" y="0"/>
                  </a:lnTo>
                  <a:lnTo>
                    <a:pt x="126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265"/>
                  </a:lnTo>
                  <a:cubicBezTo>
                    <a:pt x="0" y="1265"/>
                    <a:pt x="0" y="2529"/>
                    <a:pt x="0" y="2529"/>
                  </a:cubicBezTo>
                  <a:cubicBezTo>
                    <a:pt x="0" y="2529"/>
                    <a:pt x="0" y="2529"/>
                    <a:pt x="0" y="3794"/>
                  </a:cubicBezTo>
                  <a:lnTo>
                    <a:pt x="0" y="3794"/>
                  </a:lnTo>
                  <a:lnTo>
                    <a:pt x="0" y="6323"/>
                  </a:lnTo>
                  <a:lnTo>
                    <a:pt x="58175" y="359134"/>
                  </a:lnTo>
                  <a:lnTo>
                    <a:pt x="58175" y="362928"/>
                  </a:lnTo>
                  <a:cubicBezTo>
                    <a:pt x="58175" y="360398"/>
                    <a:pt x="59439" y="357870"/>
                    <a:pt x="61968" y="357870"/>
                  </a:cubicBezTo>
                  <a:cubicBezTo>
                    <a:pt x="61968" y="357870"/>
                    <a:pt x="61968" y="357870"/>
                    <a:pt x="61968" y="357870"/>
                  </a:cubicBezTo>
                  <a:cubicBezTo>
                    <a:pt x="64498" y="357870"/>
                    <a:pt x="67027" y="359134"/>
                    <a:pt x="67027" y="361663"/>
                  </a:cubicBezTo>
                  <a:cubicBezTo>
                    <a:pt x="67027" y="361663"/>
                    <a:pt x="67027" y="361663"/>
                    <a:pt x="67027" y="361663"/>
                  </a:cubicBezTo>
                  <a:lnTo>
                    <a:pt x="8853" y="13910"/>
                  </a:lnTo>
                  <a:lnTo>
                    <a:pt x="7588" y="3794"/>
                  </a:lnTo>
                  <a:cubicBezTo>
                    <a:pt x="8853" y="1265"/>
                    <a:pt x="7588" y="1265"/>
                    <a:pt x="5059" y="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CE92CDAB-8CB6-4B5C-9D5D-A043B938C05E}"/>
                </a:ext>
              </a:extLst>
            </p:cNvPr>
            <p:cNvSpPr/>
            <p:nvPr/>
          </p:nvSpPr>
          <p:spPr>
            <a:xfrm>
              <a:off x="11281799" y="5476311"/>
              <a:ext cx="11381" cy="17703"/>
            </a:xfrm>
            <a:custGeom>
              <a:avLst/>
              <a:gdLst>
                <a:gd name="connsiteX0" fmla="*/ 3794 w 11381"/>
                <a:gd name="connsiteY0" fmla="*/ 0 h 17703"/>
                <a:gd name="connsiteX1" fmla="*/ 0 w 11381"/>
                <a:gd name="connsiteY1" fmla="*/ 5058 h 17703"/>
                <a:gd name="connsiteX2" fmla="*/ 0 w 11381"/>
                <a:gd name="connsiteY2" fmla="*/ 5058 h 17703"/>
                <a:gd name="connsiteX3" fmla="*/ 1265 w 11381"/>
                <a:gd name="connsiteY3" fmla="*/ 11381 h 17703"/>
                <a:gd name="connsiteX4" fmla="*/ 2529 w 11381"/>
                <a:gd name="connsiteY4" fmla="*/ 16439 h 17703"/>
                <a:gd name="connsiteX5" fmla="*/ 5059 w 11381"/>
                <a:gd name="connsiteY5" fmla="*/ 15174 h 17703"/>
                <a:gd name="connsiteX6" fmla="*/ 11382 w 11381"/>
                <a:gd name="connsiteY6" fmla="*/ 16439 h 17703"/>
                <a:gd name="connsiteX7" fmla="*/ 11382 w 11381"/>
                <a:gd name="connsiteY7" fmla="*/ 16439 h 17703"/>
                <a:gd name="connsiteX8" fmla="*/ 11382 w 11381"/>
                <a:gd name="connsiteY8" fmla="*/ 17704 h 17703"/>
                <a:gd name="connsiteX9" fmla="*/ 11382 w 11381"/>
                <a:gd name="connsiteY9" fmla="*/ 17704 h 17703"/>
                <a:gd name="connsiteX10" fmla="*/ 11382 w 11381"/>
                <a:gd name="connsiteY10" fmla="*/ 15174 h 17703"/>
                <a:gd name="connsiteX11" fmla="*/ 8853 w 11381"/>
                <a:gd name="connsiteY11" fmla="*/ 2529 h 17703"/>
                <a:gd name="connsiteX12" fmla="*/ 3794 w 11381"/>
                <a:gd name="connsiteY12" fmla="*/ 0 h 17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381" h="17703">
                  <a:moveTo>
                    <a:pt x="3794" y="0"/>
                  </a:moveTo>
                  <a:cubicBezTo>
                    <a:pt x="1265" y="0"/>
                    <a:pt x="0" y="2529"/>
                    <a:pt x="0" y="5058"/>
                  </a:cubicBezTo>
                  <a:cubicBezTo>
                    <a:pt x="0" y="5058"/>
                    <a:pt x="0" y="5058"/>
                    <a:pt x="0" y="5058"/>
                  </a:cubicBezTo>
                  <a:lnTo>
                    <a:pt x="1265" y="11381"/>
                  </a:lnTo>
                  <a:lnTo>
                    <a:pt x="2529" y="16439"/>
                  </a:lnTo>
                  <a:lnTo>
                    <a:pt x="5059" y="15174"/>
                  </a:lnTo>
                  <a:cubicBezTo>
                    <a:pt x="7588" y="13910"/>
                    <a:pt x="10117" y="15174"/>
                    <a:pt x="11382" y="16439"/>
                  </a:cubicBezTo>
                  <a:cubicBezTo>
                    <a:pt x="11382" y="16439"/>
                    <a:pt x="11382" y="16439"/>
                    <a:pt x="11382" y="16439"/>
                  </a:cubicBezTo>
                  <a:cubicBezTo>
                    <a:pt x="11382" y="16439"/>
                    <a:pt x="11382" y="17704"/>
                    <a:pt x="11382" y="17704"/>
                  </a:cubicBezTo>
                  <a:lnTo>
                    <a:pt x="11382" y="17704"/>
                  </a:lnTo>
                  <a:lnTo>
                    <a:pt x="11382" y="15174"/>
                  </a:lnTo>
                  <a:lnTo>
                    <a:pt x="8853" y="2529"/>
                  </a:lnTo>
                  <a:cubicBezTo>
                    <a:pt x="8853" y="1265"/>
                    <a:pt x="6323" y="0"/>
                    <a:pt x="3794" y="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372F58AF-4F40-491E-AE6E-D36E485E7860}"/>
                </a:ext>
              </a:extLst>
            </p:cNvPr>
            <p:cNvSpPr/>
            <p:nvPr/>
          </p:nvSpPr>
          <p:spPr>
            <a:xfrm>
              <a:off x="11496791" y="4517778"/>
              <a:ext cx="67026" cy="388742"/>
            </a:xfrm>
            <a:custGeom>
              <a:avLst/>
              <a:gdLst>
                <a:gd name="connsiteX0" fmla="*/ 56910 w 67026"/>
                <a:gd name="connsiteY0" fmla="*/ 385690 h 388742"/>
                <a:gd name="connsiteX1" fmla="*/ 58174 w 67026"/>
                <a:gd name="connsiteY1" fmla="*/ 386954 h 388742"/>
                <a:gd name="connsiteX2" fmla="*/ 63233 w 67026"/>
                <a:gd name="connsiteY2" fmla="*/ 388219 h 388742"/>
                <a:gd name="connsiteX3" fmla="*/ 67027 w 67026"/>
                <a:gd name="connsiteY3" fmla="*/ 384425 h 388742"/>
                <a:gd name="connsiteX4" fmla="*/ 67027 w 67026"/>
                <a:gd name="connsiteY4" fmla="*/ 384425 h 388742"/>
                <a:gd name="connsiteX5" fmla="*/ 67027 w 67026"/>
                <a:gd name="connsiteY5" fmla="*/ 383161 h 388742"/>
                <a:gd name="connsiteX6" fmla="*/ 67027 w 67026"/>
                <a:gd name="connsiteY6" fmla="*/ 383161 h 388742"/>
                <a:gd name="connsiteX7" fmla="*/ 65762 w 67026"/>
                <a:gd name="connsiteY7" fmla="*/ 376838 h 388742"/>
                <a:gd name="connsiteX8" fmla="*/ 10117 w 67026"/>
                <a:gd name="connsiteY8" fmla="*/ 8852 h 388742"/>
                <a:gd name="connsiteX9" fmla="*/ 8853 w 67026"/>
                <a:gd name="connsiteY9" fmla="*/ 0 h 388742"/>
                <a:gd name="connsiteX10" fmla="*/ 5059 w 67026"/>
                <a:gd name="connsiteY10" fmla="*/ 5059 h 388742"/>
                <a:gd name="connsiteX11" fmla="*/ 5059 w 67026"/>
                <a:gd name="connsiteY11" fmla="*/ 5059 h 388742"/>
                <a:gd name="connsiteX12" fmla="*/ 0 w 67026"/>
                <a:gd name="connsiteY12" fmla="*/ 1265 h 388742"/>
                <a:gd name="connsiteX13" fmla="*/ 58174 w 67026"/>
                <a:gd name="connsiteY13" fmla="*/ 380631 h 388742"/>
                <a:gd name="connsiteX14" fmla="*/ 58174 w 67026"/>
                <a:gd name="connsiteY14" fmla="*/ 380631 h 388742"/>
                <a:gd name="connsiteX15" fmla="*/ 56910 w 67026"/>
                <a:gd name="connsiteY15" fmla="*/ 385690 h 388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026" h="388742">
                  <a:moveTo>
                    <a:pt x="56910" y="385690"/>
                  </a:moveTo>
                  <a:cubicBezTo>
                    <a:pt x="56910" y="386954"/>
                    <a:pt x="56910" y="386954"/>
                    <a:pt x="58174" y="386954"/>
                  </a:cubicBezTo>
                  <a:cubicBezTo>
                    <a:pt x="59439" y="388219"/>
                    <a:pt x="60704" y="389484"/>
                    <a:pt x="63233" y="388219"/>
                  </a:cubicBezTo>
                  <a:cubicBezTo>
                    <a:pt x="65762" y="388219"/>
                    <a:pt x="67027" y="386954"/>
                    <a:pt x="67027" y="384425"/>
                  </a:cubicBezTo>
                  <a:lnTo>
                    <a:pt x="67027" y="384425"/>
                  </a:lnTo>
                  <a:cubicBezTo>
                    <a:pt x="67027" y="384425"/>
                    <a:pt x="67027" y="384425"/>
                    <a:pt x="67027" y="383161"/>
                  </a:cubicBezTo>
                  <a:lnTo>
                    <a:pt x="67027" y="383161"/>
                  </a:lnTo>
                  <a:lnTo>
                    <a:pt x="65762" y="376838"/>
                  </a:lnTo>
                  <a:lnTo>
                    <a:pt x="10117" y="8852"/>
                  </a:lnTo>
                  <a:lnTo>
                    <a:pt x="8853" y="0"/>
                  </a:lnTo>
                  <a:cubicBezTo>
                    <a:pt x="8853" y="2529"/>
                    <a:pt x="7588" y="5059"/>
                    <a:pt x="5059" y="5059"/>
                  </a:cubicBezTo>
                  <a:cubicBezTo>
                    <a:pt x="5059" y="5059"/>
                    <a:pt x="5059" y="5059"/>
                    <a:pt x="5059" y="5059"/>
                  </a:cubicBezTo>
                  <a:cubicBezTo>
                    <a:pt x="2529" y="5059"/>
                    <a:pt x="0" y="3794"/>
                    <a:pt x="0" y="1265"/>
                  </a:cubicBezTo>
                  <a:lnTo>
                    <a:pt x="58174" y="380631"/>
                  </a:lnTo>
                  <a:lnTo>
                    <a:pt x="58174" y="380631"/>
                  </a:lnTo>
                  <a:lnTo>
                    <a:pt x="56910" y="38569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34114D10-427D-4702-8234-54B82156DFB3}"/>
                </a:ext>
              </a:extLst>
            </p:cNvPr>
            <p:cNvSpPr/>
            <p:nvPr/>
          </p:nvSpPr>
          <p:spPr>
            <a:xfrm>
              <a:off x="11442411" y="4161173"/>
              <a:ext cx="61968" cy="362927"/>
            </a:xfrm>
            <a:custGeom>
              <a:avLst/>
              <a:gdLst>
                <a:gd name="connsiteX0" fmla="*/ 58174 w 61968"/>
                <a:gd name="connsiteY0" fmla="*/ 362927 h 362927"/>
                <a:gd name="connsiteX1" fmla="*/ 61968 w 61968"/>
                <a:gd name="connsiteY1" fmla="*/ 357869 h 362927"/>
                <a:gd name="connsiteX2" fmla="*/ 61968 w 61968"/>
                <a:gd name="connsiteY2" fmla="*/ 357869 h 362927"/>
                <a:gd name="connsiteX3" fmla="*/ 61968 w 61968"/>
                <a:gd name="connsiteY3" fmla="*/ 355340 h 362927"/>
                <a:gd name="connsiteX4" fmla="*/ 8853 w 61968"/>
                <a:gd name="connsiteY4" fmla="*/ 7587 h 362927"/>
                <a:gd name="connsiteX5" fmla="*/ 8853 w 61968"/>
                <a:gd name="connsiteY5" fmla="*/ 3794 h 362927"/>
                <a:gd name="connsiteX6" fmla="*/ 3794 w 61968"/>
                <a:gd name="connsiteY6" fmla="*/ 0 h 362927"/>
                <a:gd name="connsiteX7" fmla="*/ 3794 w 61968"/>
                <a:gd name="connsiteY7" fmla="*/ 0 h 362927"/>
                <a:gd name="connsiteX8" fmla="*/ 0 w 61968"/>
                <a:gd name="connsiteY8" fmla="*/ 5058 h 362927"/>
                <a:gd name="connsiteX9" fmla="*/ 54380 w 61968"/>
                <a:gd name="connsiteY9" fmla="*/ 359134 h 362927"/>
                <a:gd name="connsiteX10" fmla="*/ 58174 w 61968"/>
                <a:gd name="connsiteY10" fmla="*/ 362927 h 362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968" h="362927">
                  <a:moveTo>
                    <a:pt x="58174" y="362927"/>
                  </a:moveTo>
                  <a:cubicBezTo>
                    <a:pt x="60704" y="362927"/>
                    <a:pt x="61968" y="360398"/>
                    <a:pt x="61968" y="357869"/>
                  </a:cubicBezTo>
                  <a:cubicBezTo>
                    <a:pt x="61968" y="357869"/>
                    <a:pt x="61968" y="357869"/>
                    <a:pt x="61968" y="357869"/>
                  </a:cubicBezTo>
                  <a:lnTo>
                    <a:pt x="61968" y="355340"/>
                  </a:lnTo>
                  <a:lnTo>
                    <a:pt x="8853" y="7587"/>
                  </a:lnTo>
                  <a:lnTo>
                    <a:pt x="8853" y="3794"/>
                  </a:lnTo>
                  <a:cubicBezTo>
                    <a:pt x="8853" y="1265"/>
                    <a:pt x="6323" y="0"/>
                    <a:pt x="3794" y="0"/>
                  </a:cubicBezTo>
                  <a:cubicBezTo>
                    <a:pt x="3794" y="0"/>
                    <a:pt x="3794" y="0"/>
                    <a:pt x="3794" y="0"/>
                  </a:cubicBezTo>
                  <a:cubicBezTo>
                    <a:pt x="1265" y="0"/>
                    <a:pt x="0" y="2529"/>
                    <a:pt x="0" y="5058"/>
                  </a:cubicBezTo>
                  <a:lnTo>
                    <a:pt x="54380" y="359134"/>
                  </a:lnTo>
                  <a:cubicBezTo>
                    <a:pt x="54380" y="360398"/>
                    <a:pt x="56910" y="361663"/>
                    <a:pt x="58174" y="362927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606FF94C-3860-4BF5-BE27-508A3394186D}"/>
                </a:ext>
              </a:extLst>
            </p:cNvPr>
            <p:cNvSpPr/>
            <p:nvPr/>
          </p:nvSpPr>
          <p:spPr>
            <a:xfrm>
              <a:off x="9979197" y="5100738"/>
              <a:ext cx="233962" cy="125190"/>
            </a:xfrm>
            <a:custGeom>
              <a:avLst/>
              <a:gdLst>
                <a:gd name="connsiteX0" fmla="*/ 7588 w 233962"/>
                <a:gd name="connsiteY0" fmla="*/ 118868 h 125190"/>
                <a:gd name="connsiteX1" fmla="*/ 5059 w 233962"/>
                <a:gd name="connsiteY1" fmla="*/ 125191 h 125190"/>
                <a:gd name="connsiteX2" fmla="*/ 5059 w 233962"/>
                <a:gd name="connsiteY2" fmla="*/ 125191 h 125190"/>
                <a:gd name="connsiteX3" fmla="*/ 12647 w 233962"/>
                <a:gd name="connsiteY3" fmla="*/ 121397 h 125190"/>
                <a:gd name="connsiteX4" fmla="*/ 233963 w 233962"/>
                <a:gd name="connsiteY4" fmla="*/ 8852 h 125190"/>
                <a:gd name="connsiteX5" fmla="*/ 227639 w 233962"/>
                <a:gd name="connsiteY5" fmla="*/ 6323 h 125190"/>
                <a:gd name="connsiteX6" fmla="*/ 230168 w 233962"/>
                <a:gd name="connsiteY6" fmla="*/ 0 h 125190"/>
                <a:gd name="connsiteX7" fmla="*/ 226374 w 233962"/>
                <a:gd name="connsiteY7" fmla="*/ 1265 h 125190"/>
                <a:gd name="connsiteX8" fmla="*/ 0 w 233962"/>
                <a:gd name="connsiteY8" fmla="*/ 115075 h 125190"/>
                <a:gd name="connsiteX9" fmla="*/ 7588 w 233962"/>
                <a:gd name="connsiteY9" fmla="*/ 118868 h 125190"/>
                <a:gd name="connsiteX10" fmla="*/ 7588 w 233962"/>
                <a:gd name="connsiteY10" fmla="*/ 118868 h 125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962" h="125190">
                  <a:moveTo>
                    <a:pt x="7588" y="118868"/>
                  </a:moveTo>
                  <a:cubicBezTo>
                    <a:pt x="8853" y="121397"/>
                    <a:pt x="7588" y="123927"/>
                    <a:pt x="5059" y="125191"/>
                  </a:cubicBezTo>
                  <a:cubicBezTo>
                    <a:pt x="5059" y="125191"/>
                    <a:pt x="5059" y="125191"/>
                    <a:pt x="5059" y="125191"/>
                  </a:cubicBezTo>
                  <a:lnTo>
                    <a:pt x="12647" y="121397"/>
                  </a:lnTo>
                  <a:lnTo>
                    <a:pt x="233963" y="8852"/>
                  </a:lnTo>
                  <a:cubicBezTo>
                    <a:pt x="231433" y="10117"/>
                    <a:pt x="228904" y="8852"/>
                    <a:pt x="227639" y="6323"/>
                  </a:cubicBezTo>
                  <a:cubicBezTo>
                    <a:pt x="226374" y="3794"/>
                    <a:pt x="227639" y="1265"/>
                    <a:pt x="230168" y="0"/>
                  </a:cubicBezTo>
                  <a:lnTo>
                    <a:pt x="226374" y="1265"/>
                  </a:lnTo>
                  <a:lnTo>
                    <a:pt x="0" y="115075"/>
                  </a:lnTo>
                  <a:cubicBezTo>
                    <a:pt x="3794" y="115075"/>
                    <a:pt x="6323" y="116339"/>
                    <a:pt x="7588" y="118868"/>
                  </a:cubicBezTo>
                  <a:cubicBezTo>
                    <a:pt x="7588" y="118868"/>
                    <a:pt x="7588" y="118868"/>
                    <a:pt x="7588" y="118868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B3FE72A3-2342-4E33-BCE4-19DC47C70703}"/>
                </a:ext>
              </a:extLst>
            </p:cNvPr>
            <p:cNvSpPr/>
            <p:nvPr/>
          </p:nvSpPr>
          <p:spPr>
            <a:xfrm>
              <a:off x="9924817" y="5216581"/>
              <a:ext cx="62464" cy="37168"/>
            </a:xfrm>
            <a:custGeom>
              <a:avLst/>
              <a:gdLst>
                <a:gd name="connsiteX0" fmla="*/ 61968 w 62464"/>
                <a:gd name="connsiteY0" fmla="*/ 3025 h 37168"/>
                <a:gd name="connsiteX1" fmla="*/ 55645 w 62464"/>
                <a:gd name="connsiteY1" fmla="*/ 496 h 37168"/>
                <a:gd name="connsiteX2" fmla="*/ 55645 w 62464"/>
                <a:gd name="connsiteY2" fmla="*/ 496 h 37168"/>
                <a:gd name="connsiteX3" fmla="*/ 2529 w 62464"/>
                <a:gd name="connsiteY3" fmla="*/ 27052 h 37168"/>
                <a:gd name="connsiteX4" fmla="*/ 0 w 62464"/>
                <a:gd name="connsiteY4" fmla="*/ 28316 h 37168"/>
                <a:gd name="connsiteX5" fmla="*/ 6323 w 62464"/>
                <a:gd name="connsiteY5" fmla="*/ 30845 h 37168"/>
                <a:gd name="connsiteX6" fmla="*/ 6323 w 62464"/>
                <a:gd name="connsiteY6" fmla="*/ 30845 h 37168"/>
                <a:gd name="connsiteX7" fmla="*/ 3794 w 62464"/>
                <a:gd name="connsiteY7" fmla="*/ 37168 h 37168"/>
                <a:gd name="connsiteX8" fmla="*/ 3794 w 62464"/>
                <a:gd name="connsiteY8" fmla="*/ 37168 h 37168"/>
                <a:gd name="connsiteX9" fmla="*/ 56910 w 62464"/>
                <a:gd name="connsiteY9" fmla="*/ 10612 h 37168"/>
                <a:gd name="connsiteX10" fmla="*/ 59439 w 62464"/>
                <a:gd name="connsiteY10" fmla="*/ 9348 h 37168"/>
                <a:gd name="connsiteX11" fmla="*/ 61968 w 62464"/>
                <a:gd name="connsiteY11" fmla="*/ 3025 h 37168"/>
                <a:gd name="connsiteX12" fmla="*/ 61968 w 62464"/>
                <a:gd name="connsiteY12" fmla="*/ 3025 h 3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2464" h="37168">
                  <a:moveTo>
                    <a:pt x="61968" y="3025"/>
                  </a:moveTo>
                  <a:cubicBezTo>
                    <a:pt x="60704" y="496"/>
                    <a:pt x="58174" y="-769"/>
                    <a:pt x="55645" y="496"/>
                  </a:cubicBezTo>
                  <a:cubicBezTo>
                    <a:pt x="55645" y="496"/>
                    <a:pt x="55645" y="496"/>
                    <a:pt x="55645" y="496"/>
                  </a:cubicBezTo>
                  <a:lnTo>
                    <a:pt x="2529" y="27052"/>
                  </a:lnTo>
                  <a:lnTo>
                    <a:pt x="0" y="28316"/>
                  </a:lnTo>
                  <a:cubicBezTo>
                    <a:pt x="2529" y="27052"/>
                    <a:pt x="5059" y="28316"/>
                    <a:pt x="6323" y="30845"/>
                  </a:cubicBezTo>
                  <a:cubicBezTo>
                    <a:pt x="6323" y="30845"/>
                    <a:pt x="6323" y="30845"/>
                    <a:pt x="6323" y="30845"/>
                  </a:cubicBezTo>
                  <a:cubicBezTo>
                    <a:pt x="7588" y="33375"/>
                    <a:pt x="6323" y="35904"/>
                    <a:pt x="3794" y="37168"/>
                  </a:cubicBezTo>
                  <a:cubicBezTo>
                    <a:pt x="3794" y="37168"/>
                    <a:pt x="3794" y="37168"/>
                    <a:pt x="3794" y="37168"/>
                  </a:cubicBezTo>
                  <a:lnTo>
                    <a:pt x="56910" y="10612"/>
                  </a:lnTo>
                  <a:lnTo>
                    <a:pt x="59439" y="9348"/>
                  </a:lnTo>
                  <a:cubicBezTo>
                    <a:pt x="61968" y="8084"/>
                    <a:pt x="63233" y="5554"/>
                    <a:pt x="61968" y="3025"/>
                  </a:cubicBezTo>
                  <a:cubicBezTo>
                    <a:pt x="61968" y="3025"/>
                    <a:pt x="61968" y="3025"/>
                    <a:pt x="61968" y="3025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86801D0E-90F9-42AC-8276-1B08BBF37D7A}"/>
                </a:ext>
              </a:extLst>
            </p:cNvPr>
            <p:cNvSpPr/>
            <p:nvPr/>
          </p:nvSpPr>
          <p:spPr>
            <a:xfrm>
              <a:off x="11074394" y="3229195"/>
              <a:ext cx="140377" cy="824490"/>
            </a:xfrm>
            <a:custGeom>
              <a:avLst/>
              <a:gdLst>
                <a:gd name="connsiteX0" fmla="*/ 131525 w 140377"/>
                <a:gd name="connsiteY0" fmla="*/ 820697 h 824490"/>
                <a:gd name="connsiteX1" fmla="*/ 134054 w 140377"/>
                <a:gd name="connsiteY1" fmla="*/ 824491 h 824490"/>
                <a:gd name="connsiteX2" fmla="*/ 135319 w 140377"/>
                <a:gd name="connsiteY2" fmla="*/ 824491 h 824490"/>
                <a:gd name="connsiteX3" fmla="*/ 136584 w 140377"/>
                <a:gd name="connsiteY3" fmla="*/ 824491 h 824490"/>
                <a:gd name="connsiteX4" fmla="*/ 137848 w 140377"/>
                <a:gd name="connsiteY4" fmla="*/ 824491 h 824490"/>
                <a:gd name="connsiteX5" fmla="*/ 139113 w 140377"/>
                <a:gd name="connsiteY5" fmla="*/ 824491 h 824490"/>
                <a:gd name="connsiteX6" fmla="*/ 139113 w 140377"/>
                <a:gd name="connsiteY6" fmla="*/ 824491 h 824490"/>
                <a:gd name="connsiteX7" fmla="*/ 140378 w 140377"/>
                <a:gd name="connsiteY7" fmla="*/ 823226 h 824490"/>
                <a:gd name="connsiteX8" fmla="*/ 140378 w 140377"/>
                <a:gd name="connsiteY8" fmla="*/ 821961 h 824490"/>
                <a:gd name="connsiteX9" fmla="*/ 140378 w 140377"/>
                <a:gd name="connsiteY9" fmla="*/ 820697 h 824490"/>
                <a:gd name="connsiteX10" fmla="*/ 140378 w 140377"/>
                <a:gd name="connsiteY10" fmla="*/ 819433 h 824490"/>
                <a:gd name="connsiteX11" fmla="*/ 8853 w 140377"/>
                <a:gd name="connsiteY11" fmla="*/ 0 h 824490"/>
                <a:gd name="connsiteX12" fmla="*/ 5059 w 140377"/>
                <a:gd name="connsiteY12" fmla="*/ 5058 h 824490"/>
                <a:gd name="connsiteX13" fmla="*/ 0 w 140377"/>
                <a:gd name="connsiteY13" fmla="*/ 1265 h 824490"/>
                <a:gd name="connsiteX14" fmla="*/ 0 w 140377"/>
                <a:gd name="connsiteY14" fmla="*/ 1265 h 824490"/>
                <a:gd name="connsiteX15" fmla="*/ 1265 w 140377"/>
                <a:gd name="connsiteY15" fmla="*/ 7587 h 824490"/>
                <a:gd name="connsiteX16" fmla="*/ 131525 w 140377"/>
                <a:gd name="connsiteY16" fmla="*/ 811845 h 824490"/>
                <a:gd name="connsiteX17" fmla="*/ 131525 w 140377"/>
                <a:gd name="connsiteY17" fmla="*/ 820697 h 824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0377" h="824490">
                  <a:moveTo>
                    <a:pt x="131525" y="820697"/>
                  </a:moveTo>
                  <a:cubicBezTo>
                    <a:pt x="131525" y="821961"/>
                    <a:pt x="132789" y="823226"/>
                    <a:pt x="134054" y="824491"/>
                  </a:cubicBezTo>
                  <a:lnTo>
                    <a:pt x="135319" y="824491"/>
                  </a:lnTo>
                  <a:lnTo>
                    <a:pt x="136584" y="824491"/>
                  </a:lnTo>
                  <a:lnTo>
                    <a:pt x="137848" y="824491"/>
                  </a:lnTo>
                  <a:lnTo>
                    <a:pt x="139113" y="824491"/>
                  </a:lnTo>
                  <a:lnTo>
                    <a:pt x="139113" y="824491"/>
                  </a:lnTo>
                  <a:lnTo>
                    <a:pt x="140378" y="823226"/>
                  </a:lnTo>
                  <a:lnTo>
                    <a:pt x="140378" y="821961"/>
                  </a:lnTo>
                  <a:cubicBezTo>
                    <a:pt x="140378" y="821961"/>
                    <a:pt x="140378" y="821961"/>
                    <a:pt x="140378" y="820697"/>
                  </a:cubicBezTo>
                  <a:lnTo>
                    <a:pt x="140378" y="819433"/>
                  </a:lnTo>
                  <a:lnTo>
                    <a:pt x="8853" y="0"/>
                  </a:lnTo>
                  <a:cubicBezTo>
                    <a:pt x="8853" y="2529"/>
                    <a:pt x="7588" y="5058"/>
                    <a:pt x="5059" y="5058"/>
                  </a:cubicBezTo>
                  <a:cubicBezTo>
                    <a:pt x="2529" y="5058"/>
                    <a:pt x="0" y="3794"/>
                    <a:pt x="0" y="1265"/>
                  </a:cubicBezTo>
                  <a:cubicBezTo>
                    <a:pt x="0" y="1265"/>
                    <a:pt x="0" y="1265"/>
                    <a:pt x="0" y="1265"/>
                  </a:cubicBezTo>
                  <a:lnTo>
                    <a:pt x="1265" y="7587"/>
                  </a:lnTo>
                  <a:lnTo>
                    <a:pt x="131525" y="811845"/>
                  </a:lnTo>
                  <a:lnTo>
                    <a:pt x="131525" y="820697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1E30260F-6AB4-463C-8291-FC82BC4CEAF6}"/>
                </a:ext>
              </a:extLst>
            </p:cNvPr>
            <p:cNvSpPr/>
            <p:nvPr/>
          </p:nvSpPr>
          <p:spPr>
            <a:xfrm>
              <a:off x="10606469" y="301748"/>
              <a:ext cx="476777" cy="2932505"/>
            </a:xfrm>
            <a:custGeom>
              <a:avLst/>
              <a:gdLst>
                <a:gd name="connsiteX0" fmla="*/ 472984 w 476777"/>
                <a:gd name="connsiteY0" fmla="*/ 2932506 h 2932505"/>
                <a:gd name="connsiteX1" fmla="*/ 476777 w 476777"/>
                <a:gd name="connsiteY1" fmla="*/ 2927447 h 2932505"/>
                <a:gd name="connsiteX2" fmla="*/ 10117 w 476777"/>
                <a:gd name="connsiteY2" fmla="*/ 11381 h 2932505"/>
                <a:gd name="connsiteX3" fmla="*/ 10117 w 476777"/>
                <a:gd name="connsiteY3" fmla="*/ 7587 h 2932505"/>
                <a:gd name="connsiteX4" fmla="*/ 8853 w 476777"/>
                <a:gd name="connsiteY4" fmla="*/ 3794 h 2932505"/>
                <a:gd name="connsiteX5" fmla="*/ 3794 w 476777"/>
                <a:gd name="connsiteY5" fmla="*/ 0 h 2932505"/>
                <a:gd name="connsiteX6" fmla="*/ 3794 w 476777"/>
                <a:gd name="connsiteY6" fmla="*/ 0 h 2932505"/>
                <a:gd name="connsiteX7" fmla="*/ 2529 w 476777"/>
                <a:gd name="connsiteY7" fmla="*/ 0 h 2932505"/>
                <a:gd name="connsiteX8" fmla="*/ 1265 w 476777"/>
                <a:gd name="connsiteY8" fmla="*/ 0 h 2932505"/>
                <a:gd name="connsiteX9" fmla="*/ 1265 w 476777"/>
                <a:gd name="connsiteY9" fmla="*/ 0 h 2932505"/>
                <a:gd name="connsiteX10" fmla="*/ 0 w 476777"/>
                <a:gd name="connsiteY10" fmla="*/ 0 h 2932505"/>
                <a:gd name="connsiteX11" fmla="*/ 0 w 476777"/>
                <a:gd name="connsiteY11" fmla="*/ 0 h 2932505"/>
                <a:gd name="connsiteX12" fmla="*/ 0 w 476777"/>
                <a:gd name="connsiteY12" fmla="*/ 0 h 2932505"/>
                <a:gd name="connsiteX13" fmla="*/ 0 w 476777"/>
                <a:gd name="connsiteY13" fmla="*/ 1265 h 2932505"/>
                <a:gd name="connsiteX14" fmla="*/ 0 w 476777"/>
                <a:gd name="connsiteY14" fmla="*/ 1265 h 2932505"/>
                <a:gd name="connsiteX15" fmla="*/ 0 w 476777"/>
                <a:gd name="connsiteY15" fmla="*/ 2529 h 2932505"/>
                <a:gd name="connsiteX16" fmla="*/ 0 w 476777"/>
                <a:gd name="connsiteY16" fmla="*/ 3794 h 2932505"/>
                <a:gd name="connsiteX17" fmla="*/ 467925 w 476777"/>
                <a:gd name="connsiteY17" fmla="*/ 2923654 h 2932505"/>
                <a:gd name="connsiteX18" fmla="*/ 469190 w 476777"/>
                <a:gd name="connsiteY18" fmla="*/ 2927447 h 2932505"/>
                <a:gd name="connsiteX19" fmla="*/ 472984 w 476777"/>
                <a:gd name="connsiteY19" fmla="*/ 2932506 h 2932505"/>
                <a:gd name="connsiteX20" fmla="*/ 472984 w 476777"/>
                <a:gd name="connsiteY20" fmla="*/ 2932506 h 293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76777" h="2932505">
                  <a:moveTo>
                    <a:pt x="472984" y="2932506"/>
                  </a:moveTo>
                  <a:cubicBezTo>
                    <a:pt x="475513" y="2932506"/>
                    <a:pt x="476777" y="2929977"/>
                    <a:pt x="476777" y="2927447"/>
                  </a:cubicBezTo>
                  <a:lnTo>
                    <a:pt x="10117" y="11381"/>
                  </a:lnTo>
                  <a:lnTo>
                    <a:pt x="10117" y="7587"/>
                  </a:lnTo>
                  <a:lnTo>
                    <a:pt x="8853" y="3794"/>
                  </a:lnTo>
                  <a:cubicBezTo>
                    <a:pt x="8853" y="1265"/>
                    <a:pt x="6323" y="0"/>
                    <a:pt x="3794" y="0"/>
                  </a:cubicBezTo>
                  <a:cubicBezTo>
                    <a:pt x="3794" y="0"/>
                    <a:pt x="3794" y="0"/>
                    <a:pt x="3794" y="0"/>
                  </a:cubicBezTo>
                  <a:lnTo>
                    <a:pt x="2529" y="0"/>
                  </a:lnTo>
                  <a:lnTo>
                    <a:pt x="1265" y="0"/>
                  </a:lnTo>
                  <a:lnTo>
                    <a:pt x="1265" y="0"/>
                  </a:lnTo>
                  <a:cubicBezTo>
                    <a:pt x="1265" y="0"/>
                    <a:pt x="1265" y="0"/>
                    <a:pt x="0" y="0"/>
                  </a:cubicBez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0" y="0"/>
                    <a:pt x="0" y="1265"/>
                  </a:cubicBezTo>
                  <a:lnTo>
                    <a:pt x="0" y="1265"/>
                  </a:lnTo>
                  <a:lnTo>
                    <a:pt x="0" y="2529"/>
                  </a:lnTo>
                  <a:cubicBezTo>
                    <a:pt x="0" y="2529"/>
                    <a:pt x="0" y="2529"/>
                    <a:pt x="0" y="3794"/>
                  </a:cubicBezTo>
                  <a:lnTo>
                    <a:pt x="467925" y="2923654"/>
                  </a:lnTo>
                  <a:lnTo>
                    <a:pt x="469190" y="2927447"/>
                  </a:lnTo>
                  <a:cubicBezTo>
                    <a:pt x="469190" y="2927447"/>
                    <a:pt x="470454" y="2929977"/>
                    <a:pt x="472984" y="2932506"/>
                  </a:cubicBezTo>
                  <a:cubicBezTo>
                    <a:pt x="472984" y="2931241"/>
                    <a:pt x="472984" y="2932506"/>
                    <a:pt x="472984" y="2932506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C0912091-330A-4908-BE7B-3D97D0BA1014}"/>
                </a:ext>
              </a:extLst>
            </p:cNvPr>
            <p:cNvSpPr/>
            <p:nvPr/>
          </p:nvSpPr>
          <p:spPr>
            <a:xfrm>
              <a:off x="11537260" y="2142941"/>
              <a:ext cx="141642" cy="968650"/>
            </a:xfrm>
            <a:custGeom>
              <a:avLst/>
              <a:gdLst>
                <a:gd name="connsiteX0" fmla="*/ 136584 w 141642"/>
                <a:gd name="connsiteY0" fmla="*/ 967385 h 968650"/>
                <a:gd name="connsiteX1" fmla="*/ 141642 w 141642"/>
                <a:gd name="connsiteY1" fmla="*/ 964856 h 968650"/>
                <a:gd name="connsiteX2" fmla="*/ 8853 w 141642"/>
                <a:gd name="connsiteY2" fmla="*/ 7587 h 968650"/>
                <a:gd name="connsiteX3" fmla="*/ 8853 w 141642"/>
                <a:gd name="connsiteY3" fmla="*/ 0 h 968650"/>
                <a:gd name="connsiteX4" fmla="*/ 5059 w 141642"/>
                <a:gd name="connsiteY4" fmla="*/ 5058 h 968650"/>
                <a:gd name="connsiteX5" fmla="*/ 5059 w 141642"/>
                <a:gd name="connsiteY5" fmla="*/ 5058 h 968650"/>
                <a:gd name="connsiteX6" fmla="*/ 0 w 141642"/>
                <a:gd name="connsiteY6" fmla="*/ 1265 h 968650"/>
                <a:gd name="connsiteX7" fmla="*/ 134054 w 141642"/>
                <a:gd name="connsiteY7" fmla="*/ 968650 h 968650"/>
                <a:gd name="connsiteX8" fmla="*/ 136584 w 141642"/>
                <a:gd name="connsiteY8" fmla="*/ 967385 h 968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642" h="968650">
                  <a:moveTo>
                    <a:pt x="136584" y="967385"/>
                  </a:moveTo>
                  <a:lnTo>
                    <a:pt x="141642" y="964856"/>
                  </a:lnTo>
                  <a:lnTo>
                    <a:pt x="8853" y="7587"/>
                  </a:lnTo>
                  <a:lnTo>
                    <a:pt x="8853" y="0"/>
                  </a:lnTo>
                  <a:cubicBezTo>
                    <a:pt x="8853" y="2529"/>
                    <a:pt x="7588" y="5058"/>
                    <a:pt x="5059" y="5058"/>
                  </a:cubicBezTo>
                  <a:cubicBezTo>
                    <a:pt x="5059" y="5058"/>
                    <a:pt x="5059" y="5058"/>
                    <a:pt x="5059" y="5058"/>
                  </a:cubicBezTo>
                  <a:cubicBezTo>
                    <a:pt x="2529" y="5058"/>
                    <a:pt x="0" y="3794"/>
                    <a:pt x="0" y="1265"/>
                  </a:cubicBezTo>
                  <a:lnTo>
                    <a:pt x="134054" y="968650"/>
                  </a:lnTo>
                  <a:lnTo>
                    <a:pt x="136584" y="967385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2AF21AF2-89BE-4F0A-85A2-E5F0FE76AA03}"/>
                </a:ext>
              </a:extLst>
            </p:cNvPr>
            <p:cNvSpPr/>
            <p:nvPr/>
          </p:nvSpPr>
          <p:spPr>
            <a:xfrm>
              <a:off x="10095546" y="3655351"/>
              <a:ext cx="55645" cy="240265"/>
            </a:xfrm>
            <a:custGeom>
              <a:avLst/>
              <a:gdLst>
                <a:gd name="connsiteX0" fmla="*/ 46792 w 55645"/>
                <a:gd name="connsiteY0" fmla="*/ 239001 h 240265"/>
                <a:gd name="connsiteX1" fmla="*/ 46792 w 55645"/>
                <a:gd name="connsiteY1" fmla="*/ 239001 h 240265"/>
                <a:gd name="connsiteX2" fmla="*/ 46792 w 55645"/>
                <a:gd name="connsiteY2" fmla="*/ 240266 h 240265"/>
                <a:gd name="connsiteX3" fmla="*/ 46792 w 55645"/>
                <a:gd name="connsiteY3" fmla="*/ 240266 h 240265"/>
                <a:gd name="connsiteX4" fmla="*/ 48057 w 55645"/>
                <a:gd name="connsiteY4" fmla="*/ 240266 h 240265"/>
                <a:gd name="connsiteX5" fmla="*/ 51851 w 55645"/>
                <a:gd name="connsiteY5" fmla="*/ 240266 h 240265"/>
                <a:gd name="connsiteX6" fmla="*/ 55645 w 55645"/>
                <a:gd name="connsiteY6" fmla="*/ 235208 h 240265"/>
                <a:gd name="connsiteX7" fmla="*/ 55645 w 55645"/>
                <a:gd name="connsiteY7" fmla="*/ 235208 h 240265"/>
                <a:gd name="connsiteX8" fmla="*/ 55645 w 55645"/>
                <a:gd name="connsiteY8" fmla="*/ 232678 h 240265"/>
                <a:gd name="connsiteX9" fmla="*/ 10117 w 55645"/>
                <a:gd name="connsiteY9" fmla="*/ 3794 h 240265"/>
                <a:gd name="connsiteX10" fmla="*/ 8853 w 55645"/>
                <a:gd name="connsiteY10" fmla="*/ 0 h 240265"/>
                <a:gd name="connsiteX11" fmla="*/ 5059 w 55645"/>
                <a:gd name="connsiteY11" fmla="*/ 5058 h 240265"/>
                <a:gd name="connsiteX12" fmla="*/ 0 w 55645"/>
                <a:gd name="connsiteY12" fmla="*/ 1265 h 240265"/>
                <a:gd name="connsiteX13" fmla="*/ 0 w 55645"/>
                <a:gd name="connsiteY13" fmla="*/ 1265 h 240265"/>
                <a:gd name="connsiteX14" fmla="*/ 46792 w 55645"/>
                <a:gd name="connsiteY14" fmla="*/ 239001 h 240265"/>
                <a:gd name="connsiteX15" fmla="*/ 46792 w 55645"/>
                <a:gd name="connsiteY15" fmla="*/ 239001 h 240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5645" h="240265">
                  <a:moveTo>
                    <a:pt x="46792" y="239001"/>
                  </a:moveTo>
                  <a:lnTo>
                    <a:pt x="46792" y="239001"/>
                  </a:lnTo>
                  <a:lnTo>
                    <a:pt x="46792" y="240266"/>
                  </a:lnTo>
                  <a:lnTo>
                    <a:pt x="46792" y="240266"/>
                  </a:lnTo>
                  <a:lnTo>
                    <a:pt x="48057" y="240266"/>
                  </a:lnTo>
                  <a:cubicBezTo>
                    <a:pt x="49322" y="240266"/>
                    <a:pt x="50586" y="240266"/>
                    <a:pt x="51851" y="240266"/>
                  </a:cubicBezTo>
                  <a:cubicBezTo>
                    <a:pt x="54380" y="240266"/>
                    <a:pt x="55645" y="237736"/>
                    <a:pt x="55645" y="235208"/>
                  </a:cubicBezTo>
                  <a:cubicBezTo>
                    <a:pt x="55645" y="235208"/>
                    <a:pt x="55645" y="235208"/>
                    <a:pt x="55645" y="235208"/>
                  </a:cubicBezTo>
                  <a:lnTo>
                    <a:pt x="55645" y="232678"/>
                  </a:lnTo>
                  <a:lnTo>
                    <a:pt x="10117" y="3794"/>
                  </a:lnTo>
                  <a:lnTo>
                    <a:pt x="8853" y="0"/>
                  </a:lnTo>
                  <a:cubicBezTo>
                    <a:pt x="8853" y="2529"/>
                    <a:pt x="7588" y="5058"/>
                    <a:pt x="5059" y="5058"/>
                  </a:cubicBezTo>
                  <a:cubicBezTo>
                    <a:pt x="2529" y="5058"/>
                    <a:pt x="0" y="3794"/>
                    <a:pt x="0" y="1265"/>
                  </a:cubicBezTo>
                  <a:cubicBezTo>
                    <a:pt x="0" y="1265"/>
                    <a:pt x="0" y="1265"/>
                    <a:pt x="0" y="1265"/>
                  </a:cubicBezTo>
                  <a:lnTo>
                    <a:pt x="46792" y="239001"/>
                  </a:lnTo>
                  <a:lnTo>
                    <a:pt x="46792" y="239001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0989EBF2-5A3F-4858-8F0F-653FB1282F50}"/>
                </a:ext>
              </a:extLst>
            </p:cNvPr>
            <p:cNvSpPr/>
            <p:nvPr/>
          </p:nvSpPr>
          <p:spPr>
            <a:xfrm>
              <a:off x="9851466" y="2423673"/>
              <a:ext cx="252932" cy="1236735"/>
            </a:xfrm>
            <a:custGeom>
              <a:avLst/>
              <a:gdLst>
                <a:gd name="connsiteX0" fmla="*/ 5059 w 252932"/>
                <a:gd name="connsiteY0" fmla="*/ 1265 h 1236735"/>
                <a:gd name="connsiteX1" fmla="*/ 3794 w 252932"/>
                <a:gd name="connsiteY1" fmla="*/ 1265 h 1236735"/>
                <a:gd name="connsiteX2" fmla="*/ 0 w 252932"/>
                <a:gd name="connsiteY2" fmla="*/ 6323 h 1236735"/>
                <a:gd name="connsiteX3" fmla="*/ 1265 w 252932"/>
                <a:gd name="connsiteY3" fmla="*/ 11381 h 1236735"/>
                <a:gd name="connsiteX4" fmla="*/ 244080 w 252932"/>
                <a:gd name="connsiteY4" fmla="*/ 1232942 h 1236735"/>
                <a:gd name="connsiteX5" fmla="*/ 249138 w 252932"/>
                <a:gd name="connsiteY5" fmla="*/ 1236736 h 1236735"/>
                <a:gd name="connsiteX6" fmla="*/ 249138 w 252932"/>
                <a:gd name="connsiteY6" fmla="*/ 1236736 h 1236735"/>
                <a:gd name="connsiteX7" fmla="*/ 252932 w 252932"/>
                <a:gd name="connsiteY7" fmla="*/ 1231678 h 1236735"/>
                <a:gd name="connsiteX8" fmla="*/ 251668 w 252932"/>
                <a:gd name="connsiteY8" fmla="*/ 1225355 h 1236735"/>
                <a:gd name="connsiteX9" fmla="*/ 8853 w 252932"/>
                <a:gd name="connsiteY9" fmla="*/ 3794 h 1236735"/>
                <a:gd name="connsiteX10" fmla="*/ 8853 w 252932"/>
                <a:gd name="connsiteY10" fmla="*/ 3794 h 1236735"/>
                <a:gd name="connsiteX11" fmla="*/ 8853 w 252932"/>
                <a:gd name="connsiteY11" fmla="*/ 2529 h 1236735"/>
                <a:gd name="connsiteX12" fmla="*/ 8853 w 252932"/>
                <a:gd name="connsiteY12" fmla="*/ 2529 h 1236735"/>
                <a:gd name="connsiteX13" fmla="*/ 8853 w 252932"/>
                <a:gd name="connsiteY13" fmla="*/ 1265 h 1236735"/>
                <a:gd name="connsiteX14" fmla="*/ 8853 w 252932"/>
                <a:gd name="connsiteY14" fmla="*/ 0 h 1236735"/>
                <a:gd name="connsiteX15" fmla="*/ 8853 w 252932"/>
                <a:gd name="connsiteY15" fmla="*/ 0 h 1236735"/>
                <a:gd name="connsiteX16" fmla="*/ 7588 w 252932"/>
                <a:gd name="connsiteY16" fmla="*/ 0 h 1236735"/>
                <a:gd name="connsiteX17" fmla="*/ 6323 w 252932"/>
                <a:gd name="connsiteY17" fmla="*/ 0 h 1236735"/>
                <a:gd name="connsiteX18" fmla="*/ 5059 w 252932"/>
                <a:gd name="connsiteY18" fmla="*/ 1265 h 1236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52932" h="1236735">
                  <a:moveTo>
                    <a:pt x="5059" y="1265"/>
                  </a:moveTo>
                  <a:lnTo>
                    <a:pt x="3794" y="1265"/>
                  </a:lnTo>
                  <a:cubicBezTo>
                    <a:pt x="1265" y="2529"/>
                    <a:pt x="0" y="3794"/>
                    <a:pt x="0" y="6323"/>
                  </a:cubicBezTo>
                  <a:lnTo>
                    <a:pt x="1265" y="11381"/>
                  </a:lnTo>
                  <a:lnTo>
                    <a:pt x="244080" y="1232942"/>
                  </a:lnTo>
                  <a:cubicBezTo>
                    <a:pt x="244080" y="1235471"/>
                    <a:pt x="246609" y="1236736"/>
                    <a:pt x="249138" y="1236736"/>
                  </a:cubicBezTo>
                  <a:cubicBezTo>
                    <a:pt x="249138" y="1236736"/>
                    <a:pt x="249138" y="1236736"/>
                    <a:pt x="249138" y="1236736"/>
                  </a:cubicBezTo>
                  <a:cubicBezTo>
                    <a:pt x="251668" y="1236736"/>
                    <a:pt x="252932" y="1234207"/>
                    <a:pt x="252932" y="1231678"/>
                  </a:cubicBezTo>
                  <a:lnTo>
                    <a:pt x="251668" y="1225355"/>
                  </a:lnTo>
                  <a:lnTo>
                    <a:pt x="8853" y="3794"/>
                  </a:lnTo>
                  <a:lnTo>
                    <a:pt x="8853" y="3794"/>
                  </a:lnTo>
                  <a:cubicBezTo>
                    <a:pt x="8853" y="3794"/>
                    <a:pt x="8853" y="3794"/>
                    <a:pt x="8853" y="2529"/>
                  </a:cubicBezTo>
                  <a:lnTo>
                    <a:pt x="8853" y="2529"/>
                  </a:lnTo>
                  <a:lnTo>
                    <a:pt x="8853" y="1265"/>
                  </a:lnTo>
                  <a:lnTo>
                    <a:pt x="8853" y="0"/>
                  </a:lnTo>
                  <a:lnTo>
                    <a:pt x="8853" y="0"/>
                  </a:lnTo>
                  <a:lnTo>
                    <a:pt x="7588" y="0"/>
                  </a:lnTo>
                  <a:lnTo>
                    <a:pt x="6323" y="0"/>
                  </a:lnTo>
                  <a:lnTo>
                    <a:pt x="5059" y="1265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1C962A37-D4A3-4102-890C-04AE3F4981BD}"/>
                </a:ext>
              </a:extLst>
            </p:cNvPr>
            <p:cNvSpPr/>
            <p:nvPr/>
          </p:nvSpPr>
          <p:spPr>
            <a:xfrm>
              <a:off x="11563818" y="3110327"/>
              <a:ext cx="113819" cy="55324"/>
            </a:xfrm>
            <a:custGeom>
              <a:avLst/>
              <a:gdLst>
                <a:gd name="connsiteX0" fmla="*/ 107496 w 113819"/>
                <a:gd name="connsiteY0" fmla="*/ 6323 h 55324"/>
                <a:gd name="connsiteX1" fmla="*/ 110026 w 113819"/>
                <a:gd name="connsiteY1" fmla="*/ 0 h 55324"/>
                <a:gd name="connsiteX2" fmla="*/ 106232 w 113819"/>
                <a:gd name="connsiteY2" fmla="*/ 1265 h 55324"/>
                <a:gd name="connsiteX3" fmla="*/ 1265 w 113819"/>
                <a:gd name="connsiteY3" fmla="*/ 48053 h 55324"/>
                <a:gd name="connsiteX4" fmla="*/ 1265 w 113819"/>
                <a:gd name="connsiteY4" fmla="*/ 48053 h 55324"/>
                <a:gd name="connsiteX5" fmla="*/ 1265 w 113819"/>
                <a:gd name="connsiteY5" fmla="*/ 48053 h 55324"/>
                <a:gd name="connsiteX6" fmla="*/ 0 w 113819"/>
                <a:gd name="connsiteY6" fmla="*/ 49318 h 55324"/>
                <a:gd name="connsiteX7" fmla="*/ 0 w 113819"/>
                <a:gd name="connsiteY7" fmla="*/ 49318 h 55324"/>
                <a:gd name="connsiteX8" fmla="*/ 0 w 113819"/>
                <a:gd name="connsiteY8" fmla="*/ 49318 h 55324"/>
                <a:gd name="connsiteX9" fmla="*/ 0 w 113819"/>
                <a:gd name="connsiteY9" fmla="*/ 50582 h 55324"/>
                <a:gd name="connsiteX10" fmla="*/ 0 w 113819"/>
                <a:gd name="connsiteY10" fmla="*/ 50582 h 55324"/>
                <a:gd name="connsiteX11" fmla="*/ 0 w 113819"/>
                <a:gd name="connsiteY11" fmla="*/ 51847 h 55324"/>
                <a:gd name="connsiteX12" fmla="*/ 0 w 113819"/>
                <a:gd name="connsiteY12" fmla="*/ 51847 h 55324"/>
                <a:gd name="connsiteX13" fmla="*/ 0 w 113819"/>
                <a:gd name="connsiteY13" fmla="*/ 51847 h 55324"/>
                <a:gd name="connsiteX14" fmla="*/ 0 w 113819"/>
                <a:gd name="connsiteY14" fmla="*/ 51847 h 55324"/>
                <a:gd name="connsiteX15" fmla="*/ 0 w 113819"/>
                <a:gd name="connsiteY15" fmla="*/ 51847 h 55324"/>
                <a:gd name="connsiteX16" fmla="*/ 0 w 113819"/>
                <a:gd name="connsiteY16" fmla="*/ 53111 h 55324"/>
                <a:gd name="connsiteX17" fmla="*/ 0 w 113819"/>
                <a:gd name="connsiteY17" fmla="*/ 53111 h 55324"/>
                <a:gd name="connsiteX18" fmla="*/ 0 w 113819"/>
                <a:gd name="connsiteY18" fmla="*/ 53111 h 55324"/>
                <a:gd name="connsiteX19" fmla="*/ 1265 w 113819"/>
                <a:gd name="connsiteY19" fmla="*/ 54376 h 55324"/>
                <a:gd name="connsiteX20" fmla="*/ 2529 w 113819"/>
                <a:gd name="connsiteY20" fmla="*/ 54376 h 55324"/>
                <a:gd name="connsiteX21" fmla="*/ 6323 w 113819"/>
                <a:gd name="connsiteY21" fmla="*/ 54376 h 55324"/>
                <a:gd name="connsiteX22" fmla="*/ 16441 w 113819"/>
                <a:gd name="connsiteY22" fmla="*/ 50582 h 55324"/>
                <a:gd name="connsiteX23" fmla="*/ 113820 w 113819"/>
                <a:gd name="connsiteY23" fmla="*/ 7587 h 55324"/>
                <a:gd name="connsiteX24" fmla="*/ 107496 w 113819"/>
                <a:gd name="connsiteY24" fmla="*/ 6323 h 55324"/>
                <a:gd name="connsiteX25" fmla="*/ 107496 w 113819"/>
                <a:gd name="connsiteY25" fmla="*/ 6323 h 55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3819" h="55324">
                  <a:moveTo>
                    <a:pt x="107496" y="6323"/>
                  </a:moveTo>
                  <a:cubicBezTo>
                    <a:pt x="106232" y="3794"/>
                    <a:pt x="107496" y="1265"/>
                    <a:pt x="110026" y="0"/>
                  </a:cubicBezTo>
                  <a:lnTo>
                    <a:pt x="106232" y="1265"/>
                  </a:lnTo>
                  <a:lnTo>
                    <a:pt x="1265" y="48053"/>
                  </a:lnTo>
                  <a:lnTo>
                    <a:pt x="1265" y="48053"/>
                  </a:lnTo>
                  <a:lnTo>
                    <a:pt x="1265" y="48053"/>
                  </a:lnTo>
                  <a:lnTo>
                    <a:pt x="0" y="49318"/>
                  </a:lnTo>
                  <a:lnTo>
                    <a:pt x="0" y="49318"/>
                  </a:lnTo>
                  <a:lnTo>
                    <a:pt x="0" y="49318"/>
                  </a:lnTo>
                  <a:lnTo>
                    <a:pt x="0" y="50582"/>
                  </a:lnTo>
                  <a:lnTo>
                    <a:pt x="0" y="50582"/>
                  </a:lnTo>
                  <a:cubicBezTo>
                    <a:pt x="0" y="50582"/>
                    <a:pt x="0" y="50582"/>
                    <a:pt x="0" y="51847"/>
                  </a:cubicBezTo>
                  <a:lnTo>
                    <a:pt x="0" y="51847"/>
                  </a:lnTo>
                  <a:lnTo>
                    <a:pt x="0" y="51847"/>
                  </a:lnTo>
                  <a:lnTo>
                    <a:pt x="0" y="51847"/>
                  </a:lnTo>
                  <a:lnTo>
                    <a:pt x="0" y="51847"/>
                  </a:lnTo>
                  <a:cubicBezTo>
                    <a:pt x="0" y="51847"/>
                    <a:pt x="0" y="53111"/>
                    <a:pt x="0" y="53111"/>
                  </a:cubicBezTo>
                  <a:lnTo>
                    <a:pt x="0" y="53111"/>
                  </a:lnTo>
                  <a:lnTo>
                    <a:pt x="0" y="53111"/>
                  </a:lnTo>
                  <a:cubicBezTo>
                    <a:pt x="0" y="53111"/>
                    <a:pt x="0" y="54376"/>
                    <a:pt x="1265" y="54376"/>
                  </a:cubicBezTo>
                  <a:lnTo>
                    <a:pt x="2529" y="54376"/>
                  </a:lnTo>
                  <a:cubicBezTo>
                    <a:pt x="3794" y="55640"/>
                    <a:pt x="5059" y="55640"/>
                    <a:pt x="6323" y="54376"/>
                  </a:cubicBezTo>
                  <a:lnTo>
                    <a:pt x="16441" y="50582"/>
                  </a:lnTo>
                  <a:lnTo>
                    <a:pt x="113820" y="7587"/>
                  </a:lnTo>
                  <a:cubicBezTo>
                    <a:pt x="113820" y="6323"/>
                    <a:pt x="111290" y="7587"/>
                    <a:pt x="107496" y="6323"/>
                  </a:cubicBezTo>
                  <a:cubicBezTo>
                    <a:pt x="108761" y="6323"/>
                    <a:pt x="108761" y="6323"/>
                    <a:pt x="107496" y="6323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C9DE3110-44B5-48E7-80C8-C56215F13904}"/>
                </a:ext>
              </a:extLst>
            </p:cNvPr>
            <p:cNvSpPr/>
            <p:nvPr/>
          </p:nvSpPr>
          <p:spPr>
            <a:xfrm>
              <a:off x="11610611" y="3317714"/>
              <a:ext cx="346517" cy="165656"/>
            </a:xfrm>
            <a:custGeom>
              <a:avLst/>
              <a:gdLst>
                <a:gd name="connsiteX0" fmla="*/ 346517 w 346517"/>
                <a:gd name="connsiteY0" fmla="*/ 5058 h 165656"/>
                <a:gd name="connsiteX1" fmla="*/ 346517 w 346517"/>
                <a:gd name="connsiteY1" fmla="*/ 5058 h 165656"/>
                <a:gd name="connsiteX2" fmla="*/ 346517 w 346517"/>
                <a:gd name="connsiteY2" fmla="*/ 5058 h 165656"/>
                <a:gd name="connsiteX3" fmla="*/ 346517 w 346517"/>
                <a:gd name="connsiteY3" fmla="*/ 5058 h 165656"/>
                <a:gd name="connsiteX4" fmla="*/ 346517 w 346517"/>
                <a:gd name="connsiteY4" fmla="*/ 5058 h 165656"/>
                <a:gd name="connsiteX5" fmla="*/ 346517 w 346517"/>
                <a:gd name="connsiteY5" fmla="*/ 2529 h 165656"/>
                <a:gd name="connsiteX6" fmla="*/ 345253 w 346517"/>
                <a:gd name="connsiteY6" fmla="*/ 2529 h 165656"/>
                <a:gd name="connsiteX7" fmla="*/ 341459 w 346517"/>
                <a:gd name="connsiteY7" fmla="*/ 0 h 165656"/>
                <a:gd name="connsiteX8" fmla="*/ 331341 w 346517"/>
                <a:gd name="connsiteY8" fmla="*/ 5058 h 165656"/>
                <a:gd name="connsiteX9" fmla="*/ 5059 w 346517"/>
                <a:gd name="connsiteY9" fmla="*/ 154276 h 165656"/>
                <a:gd name="connsiteX10" fmla="*/ 0 w 346517"/>
                <a:gd name="connsiteY10" fmla="*/ 156805 h 165656"/>
                <a:gd name="connsiteX11" fmla="*/ 6323 w 346517"/>
                <a:gd name="connsiteY11" fmla="*/ 159334 h 165656"/>
                <a:gd name="connsiteX12" fmla="*/ 6323 w 346517"/>
                <a:gd name="connsiteY12" fmla="*/ 159334 h 165656"/>
                <a:gd name="connsiteX13" fmla="*/ 3794 w 346517"/>
                <a:gd name="connsiteY13" fmla="*/ 165657 h 165656"/>
                <a:gd name="connsiteX14" fmla="*/ 343988 w 346517"/>
                <a:gd name="connsiteY14" fmla="*/ 8852 h 165656"/>
                <a:gd name="connsiteX15" fmla="*/ 343988 w 346517"/>
                <a:gd name="connsiteY15" fmla="*/ 8852 h 165656"/>
                <a:gd name="connsiteX16" fmla="*/ 343988 w 346517"/>
                <a:gd name="connsiteY16" fmla="*/ 8852 h 165656"/>
                <a:gd name="connsiteX17" fmla="*/ 345253 w 346517"/>
                <a:gd name="connsiteY17" fmla="*/ 7587 h 165656"/>
                <a:gd name="connsiteX18" fmla="*/ 345253 w 346517"/>
                <a:gd name="connsiteY18" fmla="*/ 6323 h 165656"/>
                <a:gd name="connsiteX19" fmla="*/ 345253 w 346517"/>
                <a:gd name="connsiteY19" fmla="*/ 5058 h 165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6517" h="165656">
                  <a:moveTo>
                    <a:pt x="346517" y="5058"/>
                  </a:moveTo>
                  <a:lnTo>
                    <a:pt x="346517" y="5058"/>
                  </a:lnTo>
                  <a:cubicBezTo>
                    <a:pt x="346517" y="5058"/>
                    <a:pt x="346517" y="5058"/>
                    <a:pt x="346517" y="5058"/>
                  </a:cubicBezTo>
                  <a:lnTo>
                    <a:pt x="346517" y="5058"/>
                  </a:lnTo>
                  <a:lnTo>
                    <a:pt x="346517" y="5058"/>
                  </a:lnTo>
                  <a:lnTo>
                    <a:pt x="346517" y="2529"/>
                  </a:lnTo>
                  <a:lnTo>
                    <a:pt x="345253" y="2529"/>
                  </a:lnTo>
                  <a:cubicBezTo>
                    <a:pt x="343988" y="1265"/>
                    <a:pt x="342723" y="0"/>
                    <a:pt x="341459" y="0"/>
                  </a:cubicBezTo>
                  <a:lnTo>
                    <a:pt x="331341" y="5058"/>
                  </a:lnTo>
                  <a:lnTo>
                    <a:pt x="5059" y="154276"/>
                  </a:lnTo>
                  <a:lnTo>
                    <a:pt x="0" y="156805"/>
                  </a:lnTo>
                  <a:cubicBezTo>
                    <a:pt x="2529" y="155541"/>
                    <a:pt x="5059" y="156805"/>
                    <a:pt x="6323" y="159334"/>
                  </a:cubicBezTo>
                  <a:cubicBezTo>
                    <a:pt x="6323" y="159334"/>
                    <a:pt x="6323" y="159334"/>
                    <a:pt x="6323" y="159334"/>
                  </a:cubicBezTo>
                  <a:cubicBezTo>
                    <a:pt x="7588" y="161863"/>
                    <a:pt x="6323" y="164392"/>
                    <a:pt x="3794" y="165657"/>
                  </a:cubicBezTo>
                  <a:lnTo>
                    <a:pt x="343988" y="8852"/>
                  </a:lnTo>
                  <a:lnTo>
                    <a:pt x="343988" y="8852"/>
                  </a:lnTo>
                  <a:lnTo>
                    <a:pt x="343988" y="8852"/>
                  </a:lnTo>
                  <a:cubicBezTo>
                    <a:pt x="343988" y="8852"/>
                    <a:pt x="343988" y="8852"/>
                    <a:pt x="345253" y="7587"/>
                  </a:cubicBezTo>
                  <a:cubicBezTo>
                    <a:pt x="345253" y="7587"/>
                    <a:pt x="345253" y="7587"/>
                    <a:pt x="345253" y="6323"/>
                  </a:cubicBezTo>
                  <a:cubicBezTo>
                    <a:pt x="345253" y="6323"/>
                    <a:pt x="345253" y="6323"/>
                    <a:pt x="345253" y="5058"/>
                  </a:cubicBezTo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6C09D723-459C-4BDA-AB23-F27EC65205C3}"/>
                </a:ext>
              </a:extLst>
            </p:cNvPr>
            <p:cNvSpPr/>
            <p:nvPr/>
          </p:nvSpPr>
          <p:spPr>
            <a:xfrm>
              <a:off x="11408265" y="3570063"/>
              <a:ext cx="12646" cy="562"/>
            </a:xfrm>
            <a:custGeom>
              <a:avLst/>
              <a:gdLst>
                <a:gd name="connsiteX0" fmla="*/ 0 w 12646"/>
                <a:gd name="connsiteY0" fmla="*/ 562 h 562"/>
                <a:gd name="connsiteX1" fmla="*/ 0 w 12646"/>
                <a:gd name="connsiteY1" fmla="*/ 562 h 562"/>
                <a:gd name="connsiteX2" fmla="*/ 0 w 12646"/>
                <a:gd name="connsiteY2" fmla="*/ 562 h 562"/>
                <a:gd name="connsiteX3" fmla="*/ 0 w 12646"/>
                <a:gd name="connsiteY3" fmla="*/ 562 h 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46" h="562">
                  <a:moveTo>
                    <a:pt x="0" y="562"/>
                  </a:moveTo>
                  <a:lnTo>
                    <a:pt x="0" y="562"/>
                  </a:lnTo>
                  <a:lnTo>
                    <a:pt x="0" y="562"/>
                  </a:lnTo>
                  <a:cubicBezTo>
                    <a:pt x="0" y="-703"/>
                    <a:pt x="0" y="562"/>
                    <a:pt x="0" y="562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2AA5DBA1-C2D1-48FD-A0B7-B1A7D3F1A9D0}"/>
                </a:ext>
              </a:extLst>
            </p:cNvPr>
            <p:cNvSpPr/>
            <p:nvPr/>
          </p:nvSpPr>
          <p:spPr>
            <a:xfrm>
              <a:off x="11409529" y="3568412"/>
              <a:ext cx="562" cy="948"/>
            </a:xfrm>
            <a:custGeom>
              <a:avLst/>
              <a:gdLst>
                <a:gd name="connsiteX0" fmla="*/ 0 w 562"/>
                <a:gd name="connsiteY0" fmla="*/ 948 h 948"/>
                <a:gd name="connsiteX1" fmla="*/ 0 w 562"/>
                <a:gd name="connsiteY1" fmla="*/ 948 h 948"/>
                <a:gd name="connsiteX2" fmla="*/ 0 w 562"/>
                <a:gd name="connsiteY2" fmla="*/ 948 h 948"/>
                <a:gd name="connsiteX3" fmla="*/ 0 w 562"/>
                <a:gd name="connsiteY3" fmla="*/ 948 h 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2" h="948">
                  <a:moveTo>
                    <a:pt x="0" y="948"/>
                  </a:moveTo>
                  <a:lnTo>
                    <a:pt x="0" y="948"/>
                  </a:lnTo>
                  <a:cubicBezTo>
                    <a:pt x="0" y="-316"/>
                    <a:pt x="1265" y="-316"/>
                    <a:pt x="0" y="948"/>
                  </a:cubicBezTo>
                  <a:lnTo>
                    <a:pt x="0" y="948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5D9AC445-EBA0-497C-9BDF-93C17C37A1FA}"/>
                </a:ext>
              </a:extLst>
            </p:cNvPr>
            <p:cNvSpPr/>
            <p:nvPr/>
          </p:nvSpPr>
          <p:spPr>
            <a:xfrm>
              <a:off x="11408265" y="3571890"/>
              <a:ext cx="12646" cy="12645"/>
            </a:xfrm>
            <a:custGeom>
              <a:avLst/>
              <a:gdLst>
                <a:gd name="connsiteX0" fmla="*/ 0 w 12646"/>
                <a:gd name="connsiteY0" fmla="*/ 0 h 12645"/>
                <a:gd name="connsiteX1" fmla="*/ 0 w 12646"/>
                <a:gd name="connsiteY1" fmla="*/ 0 h 12645"/>
                <a:gd name="connsiteX2" fmla="*/ 0 w 12646"/>
                <a:gd name="connsiteY2" fmla="*/ 0 h 1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46" h="1264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0" name="Freeform: Shape 259">
              <a:extLst>
                <a:ext uri="{FF2B5EF4-FFF2-40B4-BE49-F238E27FC236}">
                  <a16:creationId xmlns:a16="http://schemas.microsoft.com/office/drawing/2014/main" id="{6025221B-6F47-4619-9C3B-FF6DA1EF441C}"/>
                </a:ext>
              </a:extLst>
            </p:cNvPr>
            <p:cNvSpPr/>
            <p:nvPr/>
          </p:nvSpPr>
          <p:spPr>
            <a:xfrm>
              <a:off x="11412059" y="3475287"/>
              <a:ext cx="206139" cy="100395"/>
            </a:xfrm>
            <a:custGeom>
              <a:avLst/>
              <a:gdLst>
                <a:gd name="connsiteX0" fmla="*/ 206140 w 206139"/>
                <a:gd name="connsiteY0" fmla="*/ 3025 h 100395"/>
                <a:gd name="connsiteX1" fmla="*/ 199817 w 206139"/>
                <a:gd name="connsiteY1" fmla="*/ 496 h 100395"/>
                <a:gd name="connsiteX2" fmla="*/ 199817 w 206139"/>
                <a:gd name="connsiteY2" fmla="*/ 496 h 100395"/>
                <a:gd name="connsiteX3" fmla="*/ 197287 w 206139"/>
                <a:gd name="connsiteY3" fmla="*/ 1761 h 100395"/>
                <a:gd name="connsiteX4" fmla="*/ 0 w 206139"/>
                <a:gd name="connsiteY4" fmla="*/ 92809 h 100395"/>
                <a:gd name="connsiteX5" fmla="*/ 0 w 206139"/>
                <a:gd name="connsiteY5" fmla="*/ 92809 h 100395"/>
                <a:gd name="connsiteX6" fmla="*/ 1265 w 206139"/>
                <a:gd name="connsiteY6" fmla="*/ 92809 h 100395"/>
                <a:gd name="connsiteX7" fmla="*/ 6323 w 206139"/>
                <a:gd name="connsiteY7" fmla="*/ 96602 h 100395"/>
                <a:gd name="connsiteX8" fmla="*/ 6323 w 206139"/>
                <a:gd name="connsiteY8" fmla="*/ 100396 h 100395"/>
                <a:gd name="connsiteX9" fmla="*/ 12647 w 206139"/>
                <a:gd name="connsiteY9" fmla="*/ 97867 h 100395"/>
                <a:gd name="connsiteX10" fmla="*/ 203611 w 206139"/>
                <a:gd name="connsiteY10" fmla="*/ 9348 h 100395"/>
                <a:gd name="connsiteX11" fmla="*/ 206140 w 206139"/>
                <a:gd name="connsiteY11" fmla="*/ 3025 h 100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139" h="100395">
                  <a:moveTo>
                    <a:pt x="206140" y="3025"/>
                  </a:moveTo>
                  <a:cubicBezTo>
                    <a:pt x="204875" y="496"/>
                    <a:pt x="202346" y="-769"/>
                    <a:pt x="199817" y="496"/>
                  </a:cubicBezTo>
                  <a:cubicBezTo>
                    <a:pt x="199817" y="496"/>
                    <a:pt x="199817" y="496"/>
                    <a:pt x="199817" y="496"/>
                  </a:cubicBezTo>
                  <a:lnTo>
                    <a:pt x="197287" y="1761"/>
                  </a:lnTo>
                  <a:lnTo>
                    <a:pt x="0" y="92809"/>
                  </a:lnTo>
                  <a:lnTo>
                    <a:pt x="0" y="92809"/>
                  </a:lnTo>
                  <a:cubicBezTo>
                    <a:pt x="0" y="92809"/>
                    <a:pt x="1265" y="92809"/>
                    <a:pt x="1265" y="92809"/>
                  </a:cubicBezTo>
                  <a:cubicBezTo>
                    <a:pt x="3794" y="92809"/>
                    <a:pt x="6323" y="94073"/>
                    <a:pt x="6323" y="96602"/>
                  </a:cubicBezTo>
                  <a:lnTo>
                    <a:pt x="6323" y="100396"/>
                  </a:lnTo>
                  <a:lnTo>
                    <a:pt x="12647" y="97867"/>
                  </a:lnTo>
                  <a:lnTo>
                    <a:pt x="203611" y="9348"/>
                  </a:lnTo>
                  <a:cubicBezTo>
                    <a:pt x="204875" y="8084"/>
                    <a:pt x="206140" y="5554"/>
                    <a:pt x="206140" y="3025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1" name="Freeform: Shape 260">
              <a:extLst>
                <a:ext uri="{FF2B5EF4-FFF2-40B4-BE49-F238E27FC236}">
                  <a16:creationId xmlns:a16="http://schemas.microsoft.com/office/drawing/2014/main" id="{19460C3C-C890-4A17-ADE5-3E3A7448260C}"/>
                </a:ext>
              </a:extLst>
            </p:cNvPr>
            <p:cNvSpPr/>
            <p:nvPr/>
          </p:nvSpPr>
          <p:spPr>
            <a:xfrm>
              <a:off x="11952998" y="1398118"/>
              <a:ext cx="265915" cy="83460"/>
            </a:xfrm>
            <a:custGeom>
              <a:avLst/>
              <a:gdLst>
                <a:gd name="connsiteX0" fmla="*/ 5395 w 265915"/>
                <a:gd name="connsiteY0" fmla="*/ 0 h 83460"/>
                <a:gd name="connsiteX1" fmla="*/ 4130 w 265915"/>
                <a:gd name="connsiteY1" fmla="*/ 0 h 83460"/>
                <a:gd name="connsiteX2" fmla="*/ 336 w 265915"/>
                <a:gd name="connsiteY2" fmla="*/ 3794 h 83460"/>
                <a:gd name="connsiteX3" fmla="*/ 4130 w 265915"/>
                <a:gd name="connsiteY3" fmla="*/ 8852 h 83460"/>
                <a:gd name="connsiteX4" fmla="*/ 5395 w 265915"/>
                <a:gd name="connsiteY4" fmla="*/ 8852 h 83460"/>
                <a:gd name="connsiteX5" fmla="*/ 265915 w 265915"/>
                <a:gd name="connsiteY5" fmla="*/ 83461 h 83460"/>
                <a:gd name="connsiteX6" fmla="*/ 265915 w 265915"/>
                <a:gd name="connsiteY6" fmla="*/ 74609 h 83460"/>
                <a:gd name="connsiteX7" fmla="*/ 5395 w 265915"/>
                <a:gd name="connsiteY7" fmla="*/ 0 h 83460"/>
                <a:gd name="connsiteX8" fmla="*/ 5395 w 265915"/>
                <a:gd name="connsiteY8" fmla="*/ 0 h 83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5915" h="83460">
                  <a:moveTo>
                    <a:pt x="5395" y="0"/>
                  </a:moveTo>
                  <a:lnTo>
                    <a:pt x="4130" y="0"/>
                  </a:lnTo>
                  <a:cubicBezTo>
                    <a:pt x="2866" y="0"/>
                    <a:pt x="1601" y="1265"/>
                    <a:pt x="336" y="3794"/>
                  </a:cubicBezTo>
                  <a:cubicBezTo>
                    <a:pt x="-928" y="6323"/>
                    <a:pt x="1601" y="8852"/>
                    <a:pt x="4130" y="8852"/>
                  </a:cubicBezTo>
                  <a:lnTo>
                    <a:pt x="5395" y="8852"/>
                  </a:lnTo>
                  <a:lnTo>
                    <a:pt x="265915" y="83461"/>
                  </a:lnTo>
                  <a:lnTo>
                    <a:pt x="265915" y="74609"/>
                  </a:lnTo>
                  <a:lnTo>
                    <a:pt x="5395" y="0"/>
                  </a:lnTo>
                  <a:lnTo>
                    <a:pt x="5395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2" name="Freeform: Shape 261">
              <a:extLst>
                <a:ext uri="{FF2B5EF4-FFF2-40B4-BE49-F238E27FC236}">
                  <a16:creationId xmlns:a16="http://schemas.microsoft.com/office/drawing/2014/main" id="{6F1547BD-4969-43CA-A93E-BAE41DDDAAE5}"/>
                </a:ext>
              </a:extLst>
            </p:cNvPr>
            <p:cNvSpPr/>
            <p:nvPr/>
          </p:nvSpPr>
          <p:spPr>
            <a:xfrm>
              <a:off x="11649815" y="1922909"/>
              <a:ext cx="12646" cy="27820"/>
            </a:xfrm>
            <a:custGeom>
              <a:avLst/>
              <a:gdLst>
                <a:gd name="connsiteX0" fmla="*/ 5059 w 12646"/>
                <a:gd name="connsiteY0" fmla="*/ 3794 h 27820"/>
                <a:gd name="connsiteX1" fmla="*/ 0 w 12646"/>
                <a:gd name="connsiteY1" fmla="*/ 0 h 27820"/>
                <a:gd name="connsiteX2" fmla="*/ 0 w 12646"/>
                <a:gd name="connsiteY2" fmla="*/ 0 h 27820"/>
                <a:gd name="connsiteX3" fmla="*/ 1265 w 12646"/>
                <a:gd name="connsiteY3" fmla="*/ 6323 h 27820"/>
                <a:gd name="connsiteX4" fmla="*/ 3794 w 12646"/>
                <a:gd name="connsiteY4" fmla="*/ 24026 h 27820"/>
                <a:gd name="connsiteX5" fmla="*/ 8853 w 12646"/>
                <a:gd name="connsiteY5" fmla="*/ 27820 h 27820"/>
                <a:gd name="connsiteX6" fmla="*/ 12647 w 12646"/>
                <a:gd name="connsiteY6" fmla="*/ 25291 h 27820"/>
                <a:gd name="connsiteX7" fmla="*/ 12647 w 12646"/>
                <a:gd name="connsiteY7" fmla="*/ 22762 h 27820"/>
                <a:gd name="connsiteX8" fmla="*/ 10117 w 12646"/>
                <a:gd name="connsiteY8" fmla="*/ 0 h 27820"/>
                <a:gd name="connsiteX9" fmla="*/ 5059 w 12646"/>
                <a:gd name="connsiteY9" fmla="*/ 3794 h 27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646" h="27820">
                  <a:moveTo>
                    <a:pt x="5059" y="3794"/>
                  </a:moveTo>
                  <a:cubicBezTo>
                    <a:pt x="2529" y="3794"/>
                    <a:pt x="0" y="2529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265" y="6323"/>
                  </a:lnTo>
                  <a:lnTo>
                    <a:pt x="3794" y="24026"/>
                  </a:lnTo>
                  <a:cubicBezTo>
                    <a:pt x="3794" y="26556"/>
                    <a:pt x="6323" y="27820"/>
                    <a:pt x="8853" y="27820"/>
                  </a:cubicBezTo>
                  <a:cubicBezTo>
                    <a:pt x="10117" y="27820"/>
                    <a:pt x="12647" y="26556"/>
                    <a:pt x="12647" y="25291"/>
                  </a:cubicBezTo>
                  <a:cubicBezTo>
                    <a:pt x="12647" y="24026"/>
                    <a:pt x="12647" y="24026"/>
                    <a:pt x="12647" y="22762"/>
                  </a:cubicBezTo>
                  <a:lnTo>
                    <a:pt x="10117" y="0"/>
                  </a:lnTo>
                  <a:cubicBezTo>
                    <a:pt x="8853" y="1264"/>
                    <a:pt x="7588" y="3794"/>
                    <a:pt x="5059" y="3794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8ED1C21B-AE7E-430A-A628-7803D0DBBBB2}"/>
                </a:ext>
              </a:extLst>
            </p:cNvPr>
            <p:cNvSpPr/>
            <p:nvPr/>
          </p:nvSpPr>
          <p:spPr>
            <a:xfrm>
              <a:off x="11599229" y="1527103"/>
              <a:ext cx="59439" cy="399599"/>
            </a:xfrm>
            <a:custGeom>
              <a:avLst/>
              <a:gdLst>
                <a:gd name="connsiteX0" fmla="*/ 55645 w 59439"/>
                <a:gd name="connsiteY0" fmla="*/ 399600 h 399599"/>
                <a:gd name="connsiteX1" fmla="*/ 59439 w 59439"/>
                <a:gd name="connsiteY1" fmla="*/ 394541 h 399599"/>
                <a:gd name="connsiteX2" fmla="*/ 59439 w 59439"/>
                <a:gd name="connsiteY2" fmla="*/ 394541 h 399599"/>
                <a:gd name="connsiteX3" fmla="*/ 59439 w 59439"/>
                <a:gd name="connsiteY3" fmla="*/ 394541 h 399599"/>
                <a:gd name="connsiteX4" fmla="*/ 8853 w 59439"/>
                <a:gd name="connsiteY4" fmla="*/ 11381 h 399599"/>
                <a:gd name="connsiteX5" fmla="*/ 7588 w 59439"/>
                <a:gd name="connsiteY5" fmla="*/ 3794 h 399599"/>
                <a:gd name="connsiteX6" fmla="*/ 3794 w 59439"/>
                <a:gd name="connsiteY6" fmla="*/ 0 h 399599"/>
                <a:gd name="connsiteX7" fmla="*/ 2529 w 59439"/>
                <a:gd name="connsiteY7" fmla="*/ 0 h 399599"/>
                <a:gd name="connsiteX8" fmla="*/ 2529 w 59439"/>
                <a:gd name="connsiteY8" fmla="*/ 0 h 399599"/>
                <a:gd name="connsiteX9" fmla="*/ 1265 w 59439"/>
                <a:gd name="connsiteY9" fmla="*/ 0 h 399599"/>
                <a:gd name="connsiteX10" fmla="*/ 1265 w 59439"/>
                <a:gd name="connsiteY10" fmla="*/ 0 h 399599"/>
                <a:gd name="connsiteX11" fmla="*/ 1265 w 59439"/>
                <a:gd name="connsiteY11" fmla="*/ 0 h 399599"/>
                <a:gd name="connsiteX12" fmla="*/ 0 w 59439"/>
                <a:gd name="connsiteY12" fmla="*/ 1265 h 399599"/>
                <a:gd name="connsiteX13" fmla="*/ 0 w 59439"/>
                <a:gd name="connsiteY13" fmla="*/ 1265 h 399599"/>
                <a:gd name="connsiteX14" fmla="*/ 0 w 59439"/>
                <a:gd name="connsiteY14" fmla="*/ 1265 h 399599"/>
                <a:gd name="connsiteX15" fmla="*/ 0 w 59439"/>
                <a:gd name="connsiteY15" fmla="*/ 2529 h 399599"/>
                <a:gd name="connsiteX16" fmla="*/ 0 w 59439"/>
                <a:gd name="connsiteY16" fmla="*/ 2529 h 399599"/>
                <a:gd name="connsiteX17" fmla="*/ 0 w 59439"/>
                <a:gd name="connsiteY17" fmla="*/ 2529 h 399599"/>
                <a:gd name="connsiteX18" fmla="*/ 0 w 59439"/>
                <a:gd name="connsiteY18" fmla="*/ 3794 h 399599"/>
                <a:gd name="connsiteX19" fmla="*/ 0 w 59439"/>
                <a:gd name="connsiteY19" fmla="*/ 3794 h 399599"/>
                <a:gd name="connsiteX20" fmla="*/ 51851 w 59439"/>
                <a:gd name="connsiteY20" fmla="*/ 389483 h 399599"/>
                <a:gd name="connsiteX21" fmla="*/ 51851 w 59439"/>
                <a:gd name="connsiteY21" fmla="*/ 393277 h 399599"/>
                <a:gd name="connsiteX22" fmla="*/ 55645 w 59439"/>
                <a:gd name="connsiteY22" fmla="*/ 399600 h 399599"/>
                <a:gd name="connsiteX23" fmla="*/ 55645 w 59439"/>
                <a:gd name="connsiteY23" fmla="*/ 399600 h 399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9439" h="399599">
                  <a:moveTo>
                    <a:pt x="55645" y="399600"/>
                  </a:moveTo>
                  <a:cubicBezTo>
                    <a:pt x="58175" y="399600"/>
                    <a:pt x="59439" y="397071"/>
                    <a:pt x="59439" y="394541"/>
                  </a:cubicBezTo>
                  <a:cubicBezTo>
                    <a:pt x="59439" y="394541"/>
                    <a:pt x="59439" y="394541"/>
                    <a:pt x="59439" y="394541"/>
                  </a:cubicBezTo>
                  <a:lnTo>
                    <a:pt x="59439" y="394541"/>
                  </a:lnTo>
                  <a:lnTo>
                    <a:pt x="8853" y="11381"/>
                  </a:lnTo>
                  <a:lnTo>
                    <a:pt x="7588" y="3794"/>
                  </a:lnTo>
                  <a:cubicBezTo>
                    <a:pt x="7588" y="2529"/>
                    <a:pt x="6323" y="0"/>
                    <a:pt x="3794" y="0"/>
                  </a:cubicBezTo>
                  <a:lnTo>
                    <a:pt x="2529" y="0"/>
                  </a:lnTo>
                  <a:lnTo>
                    <a:pt x="2529" y="0"/>
                  </a:lnTo>
                  <a:lnTo>
                    <a:pt x="1265" y="0"/>
                  </a:lnTo>
                  <a:lnTo>
                    <a:pt x="1265" y="0"/>
                  </a:lnTo>
                  <a:lnTo>
                    <a:pt x="1265" y="0"/>
                  </a:lnTo>
                  <a:cubicBezTo>
                    <a:pt x="1265" y="0"/>
                    <a:pt x="0" y="0"/>
                    <a:pt x="0" y="1265"/>
                  </a:cubicBezTo>
                  <a:lnTo>
                    <a:pt x="0" y="1265"/>
                  </a:lnTo>
                  <a:lnTo>
                    <a:pt x="0" y="1265"/>
                  </a:lnTo>
                  <a:lnTo>
                    <a:pt x="0" y="2529"/>
                  </a:lnTo>
                  <a:lnTo>
                    <a:pt x="0" y="2529"/>
                  </a:lnTo>
                  <a:lnTo>
                    <a:pt x="0" y="2529"/>
                  </a:lnTo>
                  <a:cubicBezTo>
                    <a:pt x="0" y="2529"/>
                    <a:pt x="0" y="2529"/>
                    <a:pt x="0" y="3794"/>
                  </a:cubicBezTo>
                  <a:lnTo>
                    <a:pt x="0" y="3794"/>
                  </a:lnTo>
                  <a:lnTo>
                    <a:pt x="51851" y="389483"/>
                  </a:lnTo>
                  <a:lnTo>
                    <a:pt x="51851" y="393277"/>
                  </a:lnTo>
                  <a:cubicBezTo>
                    <a:pt x="51851" y="395806"/>
                    <a:pt x="53116" y="398335"/>
                    <a:pt x="55645" y="399600"/>
                  </a:cubicBezTo>
                  <a:cubicBezTo>
                    <a:pt x="55645" y="399600"/>
                    <a:pt x="55645" y="399600"/>
                    <a:pt x="55645" y="399600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4" name="Freeform: Shape 263">
              <a:extLst>
                <a:ext uri="{FF2B5EF4-FFF2-40B4-BE49-F238E27FC236}">
                  <a16:creationId xmlns:a16="http://schemas.microsoft.com/office/drawing/2014/main" id="{745E0039-68C7-4B33-95D2-826D828AED2C}"/>
                </a:ext>
              </a:extLst>
            </p:cNvPr>
            <p:cNvSpPr/>
            <p:nvPr/>
          </p:nvSpPr>
          <p:spPr>
            <a:xfrm>
              <a:off x="11256505" y="5490655"/>
              <a:ext cx="36675" cy="26121"/>
            </a:xfrm>
            <a:custGeom>
              <a:avLst/>
              <a:gdLst>
                <a:gd name="connsiteX0" fmla="*/ 35410 w 36675"/>
                <a:gd name="connsiteY0" fmla="*/ 8418 h 26121"/>
                <a:gd name="connsiteX1" fmla="*/ 35410 w 36675"/>
                <a:gd name="connsiteY1" fmla="*/ 8418 h 26121"/>
                <a:gd name="connsiteX2" fmla="*/ 35410 w 36675"/>
                <a:gd name="connsiteY2" fmla="*/ 8418 h 26121"/>
                <a:gd name="connsiteX3" fmla="*/ 36675 w 36675"/>
                <a:gd name="connsiteY3" fmla="*/ 7153 h 26121"/>
                <a:gd name="connsiteX4" fmla="*/ 36675 w 36675"/>
                <a:gd name="connsiteY4" fmla="*/ 5889 h 26121"/>
                <a:gd name="connsiteX5" fmla="*/ 36675 w 36675"/>
                <a:gd name="connsiteY5" fmla="*/ 4624 h 26121"/>
                <a:gd name="connsiteX6" fmla="*/ 36675 w 36675"/>
                <a:gd name="connsiteY6" fmla="*/ 3360 h 26121"/>
                <a:gd name="connsiteX7" fmla="*/ 36675 w 36675"/>
                <a:gd name="connsiteY7" fmla="*/ 2095 h 26121"/>
                <a:gd name="connsiteX8" fmla="*/ 30352 w 36675"/>
                <a:gd name="connsiteY8" fmla="*/ 830 h 26121"/>
                <a:gd name="connsiteX9" fmla="*/ 30352 w 36675"/>
                <a:gd name="connsiteY9" fmla="*/ 830 h 26121"/>
                <a:gd name="connsiteX10" fmla="*/ 27823 w 36675"/>
                <a:gd name="connsiteY10" fmla="*/ 2095 h 26121"/>
                <a:gd name="connsiteX11" fmla="*/ 5059 w 36675"/>
                <a:gd name="connsiteY11" fmla="*/ 14741 h 26121"/>
                <a:gd name="connsiteX12" fmla="*/ 0 w 36675"/>
                <a:gd name="connsiteY12" fmla="*/ 18534 h 26121"/>
                <a:gd name="connsiteX13" fmla="*/ 6323 w 36675"/>
                <a:gd name="connsiteY13" fmla="*/ 19799 h 26121"/>
                <a:gd name="connsiteX14" fmla="*/ 5059 w 36675"/>
                <a:gd name="connsiteY14" fmla="*/ 26122 h 26121"/>
                <a:gd name="connsiteX15" fmla="*/ 34146 w 36675"/>
                <a:gd name="connsiteY15" fmla="*/ 10947 h 26121"/>
                <a:gd name="connsiteX16" fmla="*/ 35410 w 36675"/>
                <a:gd name="connsiteY16" fmla="*/ 8418 h 26121"/>
                <a:gd name="connsiteX17" fmla="*/ 35410 w 36675"/>
                <a:gd name="connsiteY17" fmla="*/ 8418 h 26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6675" h="26121">
                  <a:moveTo>
                    <a:pt x="35410" y="8418"/>
                  </a:moveTo>
                  <a:lnTo>
                    <a:pt x="35410" y="8418"/>
                  </a:lnTo>
                  <a:lnTo>
                    <a:pt x="35410" y="8418"/>
                  </a:lnTo>
                  <a:lnTo>
                    <a:pt x="36675" y="7153"/>
                  </a:lnTo>
                  <a:lnTo>
                    <a:pt x="36675" y="5889"/>
                  </a:lnTo>
                  <a:lnTo>
                    <a:pt x="36675" y="4624"/>
                  </a:lnTo>
                  <a:cubicBezTo>
                    <a:pt x="36675" y="4624"/>
                    <a:pt x="36675" y="3360"/>
                    <a:pt x="36675" y="3360"/>
                  </a:cubicBezTo>
                  <a:cubicBezTo>
                    <a:pt x="36675" y="3360"/>
                    <a:pt x="36675" y="2095"/>
                    <a:pt x="36675" y="2095"/>
                  </a:cubicBezTo>
                  <a:cubicBezTo>
                    <a:pt x="35410" y="-434"/>
                    <a:pt x="32881" y="-434"/>
                    <a:pt x="30352" y="830"/>
                  </a:cubicBezTo>
                  <a:cubicBezTo>
                    <a:pt x="30352" y="830"/>
                    <a:pt x="30352" y="830"/>
                    <a:pt x="30352" y="830"/>
                  </a:cubicBezTo>
                  <a:lnTo>
                    <a:pt x="27823" y="2095"/>
                  </a:lnTo>
                  <a:lnTo>
                    <a:pt x="5059" y="14741"/>
                  </a:lnTo>
                  <a:lnTo>
                    <a:pt x="0" y="18534"/>
                  </a:lnTo>
                  <a:cubicBezTo>
                    <a:pt x="2529" y="17270"/>
                    <a:pt x="5059" y="18534"/>
                    <a:pt x="6323" y="19799"/>
                  </a:cubicBezTo>
                  <a:cubicBezTo>
                    <a:pt x="7588" y="22328"/>
                    <a:pt x="6323" y="24857"/>
                    <a:pt x="5059" y="26122"/>
                  </a:cubicBezTo>
                  <a:lnTo>
                    <a:pt x="34146" y="10947"/>
                  </a:lnTo>
                  <a:lnTo>
                    <a:pt x="35410" y="8418"/>
                  </a:lnTo>
                  <a:lnTo>
                    <a:pt x="35410" y="8418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5" name="Freeform: Shape 264">
              <a:extLst>
                <a:ext uri="{FF2B5EF4-FFF2-40B4-BE49-F238E27FC236}">
                  <a16:creationId xmlns:a16="http://schemas.microsoft.com/office/drawing/2014/main" id="{4B7E9372-82C5-4E07-AE02-68C0D7D5E769}"/>
                </a:ext>
              </a:extLst>
            </p:cNvPr>
            <p:cNvSpPr/>
            <p:nvPr/>
          </p:nvSpPr>
          <p:spPr>
            <a:xfrm>
              <a:off x="10603940" y="5507925"/>
              <a:ext cx="658380" cy="365022"/>
            </a:xfrm>
            <a:custGeom>
              <a:avLst/>
              <a:gdLst>
                <a:gd name="connsiteX0" fmla="*/ 657624 w 658380"/>
                <a:gd name="connsiteY0" fmla="*/ 2529 h 365022"/>
                <a:gd name="connsiteX1" fmla="*/ 651301 w 658380"/>
                <a:gd name="connsiteY1" fmla="*/ 0 h 365022"/>
                <a:gd name="connsiteX2" fmla="*/ 651301 w 658380"/>
                <a:gd name="connsiteY2" fmla="*/ 0 h 365022"/>
                <a:gd name="connsiteX3" fmla="*/ 648772 w 658380"/>
                <a:gd name="connsiteY3" fmla="*/ 1265 h 365022"/>
                <a:gd name="connsiteX4" fmla="*/ 2529 w 658380"/>
                <a:gd name="connsiteY4" fmla="*/ 355340 h 365022"/>
                <a:gd name="connsiteX5" fmla="*/ 2529 w 658380"/>
                <a:gd name="connsiteY5" fmla="*/ 355340 h 365022"/>
                <a:gd name="connsiteX6" fmla="*/ 1265 w 658380"/>
                <a:gd name="connsiteY6" fmla="*/ 356605 h 365022"/>
                <a:gd name="connsiteX7" fmla="*/ 0 w 658380"/>
                <a:gd name="connsiteY7" fmla="*/ 356605 h 365022"/>
                <a:gd name="connsiteX8" fmla="*/ 0 w 658380"/>
                <a:gd name="connsiteY8" fmla="*/ 357869 h 365022"/>
                <a:gd name="connsiteX9" fmla="*/ 0 w 658380"/>
                <a:gd name="connsiteY9" fmla="*/ 359134 h 365022"/>
                <a:gd name="connsiteX10" fmla="*/ 0 w 658380"/>
                <a:gd name="connsiteY10" fmla="*/ 360398 h 365022"/>
                <a:gd name="connsiteX11" fmla="*/ 0 w 658380"/>
                <a:gd name="connsiteY11" fmla="*/ 360398 h 365022"/>
                <a:gd name="connsiteX12" fmla="*/ 0 w 658380"/>
                <a:gd name="connsiteY12" fmla="*/ 361663 h 365022"/>
                <a:gd name="connsiteX13" fmla="*/ 0 w 658380"/>
                <a:gd name="connsiteY13" fmla="*/ 362927 h 365022"/>
                <a:gd name="connsiteX14" fmla="*/ 6323 w 658380"/>
                <a:gd name="connsiteY14" fmla="*/ 364192 h 365022"/>
                <a:gd name="connsiteX15" fmla="*/ 8853 w 658380"/>
                <a:gd name="connsiteY15" fmla="*/ 362927 h 365022"/>
                <a:gd name="connsiteX16" fmla="*/ 12647 w 658380"/>
                <a:gd name="connsiteY16" fmla="*/ 360398 h 365022"/>
                <a:gd name="connsiteX17" fmla="*/ 655095 w 658380"/>
                <a:gd name="connsiteY17" fmla="*/ 7587 h 365022"/>
                <a:gd name="connsiteX18" fmla="*/ 657624 w 658380"/>
                <a:gd name="connsiteY18" fmla="*/ 2529 h 365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58380" h="365022">
                  <a:moveTo>
                    <a:pt x="657624" y="2529"/>
                  </a:moveTo>
                  <a:cubicBezTo>
                    <a:pt x="656359" y="0"/>
                    <a:pt x="653830" y="0"/>
                    <a:pt x="651301" y="0"/>
                  </a:cubicBezTo>
                  <a:cubicBezTo>
                    <a:pt x="651301" y="0"/>
                    <a:pt x="651301" y="0"/>
                    <a:pt x="651301" y="0"/>
                  </a:cubicBezTo>
                  <a:lnTo>
                    <a:pt x="648772" y="1265"/>
                  </a:lnTo>
                  <a:lnTo>
                    <a:pt x="2529" y="355340"/>
                  </a:lnTo>
                  <a:lnTo>
                    <a:pt x="2529" y="355340"/>
                  </a:lnTo>
                  <a:lnTo>
                    <a:pt x="1265" y="356605"/>
                  </a:lnTo>
                  <a:lnTo>
                    <a:pt x="0" y="356605"/>
                  </a:lnTo>
                  <a:lnTo>
                    <a:pt x="0" y="357869"/>
                  </a:lnTo>
                  <a:cubicBezTo>
                    <a:pt x="0" y="357869"/>
                    <a:pt x="0" y="357869"/>
                    <a:pt x="0" y="359134"/>
                  </a:cubicBezTo>
                  <a:cubicBezTo>
                    <a:pt x="0" y="359134"/>
                    <a:pt x="0" y="359134"/>
                    <a:pt x="0" y="360398"/>
                  </a:cubicBezTo>
                  <a:lnTo>
                    <a:pt x="0" y="360398"/>
                  </a:lnTo>
                  <a:lnTo>
                    <a:pt x="0" y="361663"/>
                  </a:lnTo>
                  <a:cubicBezTo>
                    <a:pt x="0" y="361663"/>
                    <a:pt x="0" y="362927"/>
                    <a:pt x="0" y="362927"/>
                  </a:cubicBezTo>
                  <a:cubicBezTo>
                    <a:pt x="1265" y="365457"/>
                    <a:pt x="3794" y="365457"/>
                    <a:pt x="6323" y="364192"/>
                  </a:cubicBezTo>
                  <a:lnTo>
                    <a:pt x="8853" y="362927"/>
                  </a:lnTo>
                  <a:lnTo>
                    <a:pt x="12647" y="360398"/>
                  </a:lnTo>
                  <a:lnTo>
                    <a:pt x="655095" y="7587"/>
                  </a:lnTo>
                  <a:cubicBezTo>
                    <a:pt x="658889" y="6323"/>
                    <a:pt x="658889" y="3794"/>
                    <a:pt x="657624" y="2529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6" name="Freeform: Shape 265">
              <a:extLst>
                <a:ext uri="{FF2B5EF4-FFF2-40B4-BE49-F238E27FC236}">
                  <a16:creationId xmlns:a16="http://schemas.microsoft.com/office/drawing/2014/main" id="{E6440300-98D3-441F-932B-E0BD3E642473}"/>
                </a:ext>
              </a:extLst>
            </p:cNvPr>
            <p:cNvSpPr/>
            <p:nvPr/>
          </p:nvSpPr>
          <p:spPr>
            <a:xfrm>
              <a:off x="9761675" y="4924965"/>
              <a:ext cx="16440" cy="40465"/>
            </a:xfrm>
            <a:custGeom>
              <a:avLst/>
              <a:gdLst>
                <a:gd name="connsiteX0" fmla="*/ 11382 w 16440"/>
                <a:gd name="connsiteY0" fmla="*/ 34143 h 40465"/>
                <a:gd name="connsiteX1" fmla="*/ 16441 w 16440"/>
                <a:gd name="connsiteY1" fmla="*/ 37937 h 40465"/>
                <a:gd name="connsiteX2" fmla="*/ 8853 w 16440"/>
                <a:gd name="connsiteY2" fmla="*/ 3794 h 40465"/>
                <a:gd name="connsiteX3" fmla="*/ 3794 w 16440"/>
                <a:gd name="connsiteY3" fmla="*/ 0 h 40465"/>
                <a:gd name="connsiteX4" fmla="*/ 3794 w 16440"/>
                <a:gd name="connsiteY4" fmla="*/ 0 h 40465"/>
                <a:gd name="connsiteX5" fmla="*/ 0 w 16440"/>
                <a:gd name="connsiteY5" fmla="*/ 5058 h 40465"/>
                <a:gd name="connsiteX6" fmla="*/ 1265 w 16440"/>
                <a:gd name="connsiteY6" fmla="*/ 11381 h 40465"/>
                <a:gd name="connsiteX7" fmla="*/ 6323 w 16440"/>
                <a:gd name="connsiteY7" fmla="*/ 36672 h 40465"/>
                <a:gd name="connsiteX8" fmla="*/ 7588 w 16440"/>
                <a:gd name="connsiteY8" fmla="*/ 40466 h 40465"/>
                <a:gd name="connsiteX9" fmla="*/ 11382 w 16440"/>
                <a:gd name="connsiteY9" fmla="*/ 34143 h 40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440" h="40465">
                  <a:moveTo>
                    <a:pt x="11382" y="34143"/>
                  </a:moveTo>
                  <a:cubicBezTo>
                    <a:pt x="13911" y="34143"/>
                    <a:pt x="16441" y="35407"/>
                    <a:pt x="16441" y="37937"/>
                  </a:cubicBezTo>
                  <a:lnTo>
                    <a:pt x="8853" y="3794"/>
                  </a:lnTo>
                  <a:cubicBezTo>
                    <a:pt x="8853" y="1265"/>
                    <a:pt x="6323" y="0"/>
                    <a:pt x="3794" y="0"/>
                  </a:cubicBezTo>
                  <a:cubicBezTo>
                    <a:pt x="3794" y="0"/>
                    <a:pt x="3794" y="0"/>
                    <a:pt x="3794" y="0"/>
                  </a:cubicBezTo>
                  <a:cubicBezTo>
                    <a:pt x="1265" y="0"/>
                    <a:pt x="0" y="2529"/>
                    <a:pt x="0" y="5058"/>
                  </a:cubicBezTo>
                  <a:lnTo>
                    <a:pt x="1265" y="11381"/>
                  </a:lnTo>
                  <a:lnTo>
                    <a:pt x="6323" y="36672"/>
                  </a:lnTo>
                  <a:lnTo>
                    <a:pt x="7588" y="40466"/>
                  </a:lnTo>
                  <a:cubicBezTo>
                    <a:pt x="7588" y="36672"/>
                    <a:pt x="8853" y="34143"/>
                    <a:pt x="11382" y="34143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7" name="Freeform: Shape 266">
              <a:extLst>
                <a:ext uri="{FF2B5EF4-FFF2-40B4-BE49-F238E27FC236}">
                  <a16:creationId xmlns:a16="http://schemas.microsoft.com/office/drawing/2014/main" id="{D9BDBB0F-FD7F-4C33-AD39-36930B7EDEB9}"/>
                </a:ext>
              </a:extLst>
            </p:cNvPr>
            <p:cNvSpPr/>
            <p:nvPr/>
          </p:nvSpPr>
          <p:spPr>
            <a:xfrm>
              <a:off x="9770528" y="4959108"/>
              <a:ext cx="56909" cy="228884"/>
            </a:xfrm>
            <a:custGeom>
              <a:avLst/>
              <a:gdLst>
                <a:gd name="connsiteX0" fmla="*/ 53116 w 56909"/>
                <a:gd name="connsiteY0" fmla="*/ 228884 h 228884"/>
                <a:gd name="connsiteX1" fmla="*/ 56910 w 56909"/>
                <a:gd name="connsiteY1" fmla="*/ 223826 h 228884"/>
                <a:gd name="connsiteX2" fmla="*/ 56910 w 56909"/>
                <a:gd name="connsiteY2" fmla="*/ 223826 h 228884"/>
                <a:gd name="connsiteX3" fmla="*/ 56910 w 56909"/>
                <a:gd name="connsiteY3" fmla="*/ 222562 h 228884"/>
                <a:gd name="connsiteX4" fmla="*/ 8853 w 56909"/>
                <a:gd name="connsiteY4" fmla="*/ 3794 h 228884"/>
                <a:gd name="connsiteX5" fmla="*/ 3794 w 56909"/>
                <a:gd name="connsiteY5" fmla="*/ 0 h 228884"/>
                <a:gd name="connsiteX6" fmla="*/ 0 w 56909"/>
                <a:gd name="connsiteY6" fmla="*/ 5058 h 228884"/>
                <a:gd name="connsiteX7" fmla="*/ 1265 w 56909"/>
                <a:gd name="connsiteY7" fmla="*/ 11381 h 228884"/>
                <a:gd name="connsiteX8" fmla="*/ 49322 w 56909"/>
                <a:gd name="connsiteY8" fmla="*/ 226355 h 228884"/>
                <a:gd name="connsiteX9" fmla="*/ 53116 w 56909"/>
                <a:gd name="connsiteY9" fmla="*/ 228884 h 228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6909" h="228884">
                  <a:moveTo>
                    <a:pt x="53116" y="228884"/>
                  </a:moveTo>
                  <a:cubicBezTo>
                    <a:pt x="55645" y="228884"/>
                    <a:pt x="56910" y="226355"/>
                    <a:pt x="56910" y="223826"/>
                  </a:cubicBezTo>
                  <a:cubicBezTo>
                    <a:pt x="56910" y="223826"/>
                    <a:pt x="56910" y="223826"/>
                    <a:pt x="56910" y="223826"/>
                  </a:cubicBezTo>
                  <a:lnTo>
                    <a:pt x="56910" y="222562"/>
                  </a:lnTo>
                  <a:lnTo>
                    <a:pt x="8853" y="3794"/>
                  </a:lnTo>
                  <a:cubicBezTo>
                    <a:pt x="8853" y="1264"/>
                    <a:pt x="6323" y="0"/>
                    <a:pt x="3794" y="0"/>
                  </a:cubicBezTo>
                  <a:cubicBezTo>
                    <a:pt x="1265" y="0"/>
                    <a:pt x="0" y="2529"/>
                    <a:pt x="0" y="5058"/>
                  </a:cubicBezTo>
                  <a:lnTo>
                    <a:pt x="1265" y="11381"/>
                  </a:lnTo>
                  <a:lnTo>
                    <a:pt x="49322" y="226355"/>
                  </a:lnTo>
                  <a:cubicBezTo>
                    <a:pt x="48057" y="227620"/>
                    <a:pt x="50586" y="228884"/>
                    <a:pt x="53116" y="228884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8" name="Freeform: Shape 267">
              <a:extLst>
                <a:ext uri="{FF2B5EF4-FFF2-40B4-BE49-F238E27FC236}">
                  <a16:creationId xmlns:a16="http://schemas.microsoft.com/office/drawing/2014/main" id="{CFEB9728-45EB-4FB8-9DC7-C8BE18338F83}"/>
                </a:ext>
              </a:extLst>
            </p:cNvPr>
            <p:cNvSpPr/>
            <p:nvPr/>
          </p:nvSpPr>
          <p:spPr>
            <a:xfrm>
              <a:off x="10348478" y="4954818"/>
              <a:ext cx="157648" cy="85221"/>
            </a:xfrm>
            <a:custGeom>
              <a:avLst/>
              <a:gdLst>
                <a:gd name="connsiteX0" fmla="*/ 156818 w 157648"/>
                <a:gd name="connsiteY0" fmla="*/ 3025 h 85221"/>
                <a:gd name="connsiteX1" fmla="*/ 150495 w 157648"/>
                <a:gd name="connsiteY1" fmla="*/ 496 h 85221"/>
                <a:gd name="connsiteX2" fmla="*/ 142907 w 157648"/>
                <a:gd name="connsiteY2" fmla="*/ 4290 h 85221"/>
                <a:gd name="connsiteX3" fmla="*/ 5059 w 157648"/>
                <a:gd name="connsiteY3" fmla="*/ 73841 h 85221"/>
                <a:gd name="connsiteX4" fmla="*/ 0 w 157648"/>
                <a:gd name="connsiteY4" fmla="*/ 76369 h 85221"/>
                <a:gd name="connsiteX5" fmla="*/ 6323 w 157648"/>
                <a:gd name="connsiteY5" fmla="*/ 78899 h 85221"/>
                <a:gd name="connsiteX6" fmla="*/ 3794 w 157648"/>
                <a:gd name="connsiteY6" fmla="*/ 85222 h 85221"/>
                <a:gd name="connsiteX7" fmla="*/ 155553 w 157648"/>
                <a:gd name="connsiteY7" fmla="*/ 9348 h 85221"/>
                <a:gd name="connsiteX8" fmla="*/ 156818 w 157648"/>
                <a:gd name="connsiteY8" fmla="*/ 3025 h 85221"/>
                <a:gd name="connsiteX9" fmla="*/ 156818 w 157648"/>
                <a:gd name="connsiteY9" fmla="*/ 3025 h 85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7648" h="85221">
                  <a:moveTo>
                    <a:pt x="156818" y="3025"/>
                  </a:moveTo>
                  <a:cubicBezTo>
                    <a:pt x="155553" y="496"/>
                    <a:pt x="153024" y="-769"/>
                    <a:pt x="150495" y="496"/>
                  </a:cubicBezTo>
                  <a:lnTo>
                    <a:pt x="142907" y="4290"/>
                  </a:lnTo>
                  <a:lnTo>
                    <a:pt x="5059" y="73841"/>
                  </a:lnTo>
                  <a:lnTo>
                    <a:pt x="0" y="76369"/>
                  </a:lnTo>
                  <a:cubicBezTo>
                    <a:pt x="2529" y="75105"/>
                    <a:pt x="5059" y="76369"/>
                    <a:pt x="6323" y="78899"/>
                  </a:cubicBezTo>
                  <a:cubicBezTo>
                    <a:pt x="7588" y="81428"/>
                    <a:pt x="6323" y="83957"/>
                    <a:pt x="3794" y="85222"/>
                  </a:cubicBezTo>
                  <a:lnTo>
                    <a:pt x="155553" y="9348"/>
                  </a:lnTo>
                  <a:cubicBezTo>
                    <a:pt x="158083" y="8084"/>
                    <a:pt x="158083" y="5554"/>
                    <a:pt x="156818" y="3025"/>
                  </a:cubicBezTo>
                  <a:cubicBezTo>
                    <a:pt x="156818" y="3025"/>
                    <a:pt x="156818" y="3025"/>
                    <a:pt x="156818" y="3025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9" name="Freeform: Shape 268">
              <a:extLst>
                <a:ext uri="{FF2B5EF4-FFF2-40B4-BE49-F238E27FC236}">
                  <a16:creationId xmlns:a16="http://schemas.microsoft.com/office/drawing/2014/main" id="{5401214A-1017-4BDE-A6D7-279B25F152B8}"/>
                </a:ext>
              </a:extLst>
            </p:cNvPr>
            <p:cNvSpPr/>
            <p:nvPr/>
          </p:nvSpPr>
          <p:spPr>
            <a:xfrm>
              <a:off x="10206340" y="5030691"/>
              <a:ext cx="148935" cy="79394"/>
            </a:xfrm>
            <a:custGeom>
              <a:avLst/>
              <a:gdLst>
                <a:gd name="connsiteX0" fmla="*/ 148462 w 148935"/>
                <a:gd name="connsiteY0" fmla="*/ 3025 h 79394"/>
                <a:gd name="connsiteX1" fmla="*/ 142138 w 148935"/>
                <a:gd name="connsiteY1" fmla="*/ 496 h 79394"/>
                <a:gd name="connsiteX2" fmla="*/ 142138 w 148935"/>
                <a:gd name="connsiteY2" fmla="*/ 496 h 79394"/>
                <a:gd name="connsiteX3" fmla="*/ 138344 w 148935"/>
                <a:gd name="connsiteY3" fmla="*/ 1761 h 79394"/>
                <a:gd name="connsiteX4" fmla="*/ 8084 w 148935"/>
                <a:gd name="connsiteY4" fmla="*/ 67518 h 79394"/>
                <a:gd name="connsiteX5" fmla="*/ 3025 w 148935"/>
                <a:gd name="connsiteY5" fmla="*/ 70047 h 79394"/>
                <a:gd name="connsiteX6" fmla="*/ 496 w 148935"/>
                <a:gd name="connsiteY6" fmla="*/ 76369 h 79394"/>
                <a:gd name="connsiteX7" fmla="*/ 6819 w 148935"/>
                <a:gd name="connsiteY7" fmla="*/ 78899 h 79394"/>
                <a:gd name="connsiteX8" fmla="*/ 144668 w 148935"/>
                <a:gd name="connsiteY8" fmla="*/ 9348 h 79394"/>
                <a:gd name="connsiteX9" fmla="*/ 148462 w 148935"/>
                <a:gd name="connsiteY9" fmla="*/ 3025 h 79394"/>
                <a:gd name="connsiteX10" fmla="*/ 148462 w 148935"/>
                <a:gd name="connsiteY10" fmla="*/ 3025 h 7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8935" h="79394">
                  <a:moveTo>
                    <a:pt x="148462" y="3025"/>
                  </a:moveTo>
                  <a:cubicBezTo>
                    <a:pt x="147197" y="496"/>
                    <a:pt x="144668" y="-769"/>
                    <a:pt x="142138" y="496"/>
                  </a:cubicBezTo>
                  <a:cubicBezTo>
                    <a:pt x="142138" y="496"/>
                    <a:pt x="142138" y="496"/>
                    <a:pt x="142138" y="496"/>
                  </a:cubicBezTo>
                  <a:lnTo>
                    <a:pt x="138344" y="1761"/>
                  </a:lnTo>
                  <a:lnTo>
                    <a:pt x="8084" y="67518"/>
                  </a:lnTo>
                  <a:lnTo>
                    <a:pt x="3025" y="70047"/>
                  </a:lnTo>
                  <a:cubicBezTo>
                    <a:pt x="496" y="71311"/>
                    <a:pt x="-769" y="73841"/>
                    <a:pt x="496" y="76369"/>
                  </a:cubicBezTo>
                  <a:cubicBezTo>
                    <a:pt x="1761" y="78899"/>
                    <a:pt x="4290" y="80163"/>
                    <a:pt x="6819" y="78899"/>
                  </a:cubicBezTo>
                  <a:lnTo>
                    <a:pt x="144668" y="9348"/>
                  </a:lnTo>
                  <a:cubicBezTo>
                    <a:pt x="148462" y="9348"/>
                    <a:pt x="149726" y="5554"/>
                    <a:pt x="148462" y="3025"/>
                  </a:cubicBezTo>
                  <a:cubicBezTo>
                    <a:pt x="148462" y="4290"/>
                    <a:pt x="148462" y="4290"/>
                    <a:pt x="148462" y="3025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0" name="Freeform: Shape 269">
              <a:extLst>
                <a:ext uri="{FF2B5EF4-FFF2-40B4-BE49-F238E27FC236}">
                  <a16:creationId xmlns:a16="http://schemas.microsoft.com/office/drawing/2014/main" id="{33ED67F4-ECE0-4C67-BF8A-20EE16AAEEAC}"/>
                </a:ext>
              </a:extLst>
            </p:cNvPr>
            <p:cNvSpPr/>
            <p:nvPr/>
          </p:nvSpPr>
          <p:spPr>
            <a:xfrm>
              <a:off x="9843878" y="5244401"/>
              <a:ext cx="87757" cy="49813"/>
            </a:xfrm>
            <a:custGeom>
              <a:avLst/>
              <a:gdLst>
                <a:gd name="connsiteX0" fmla="*/ 87262 w 87757"/>
                <a:gd name="connsiteY0" fmla="*/ 3025 h 49813"/>
                <a:gd name="connsiteX1" fmla="*/ 80938 w 87757"/>
                <a:gd name="connsiteY1" fmla="*/ 496 h 49813"/>
                <a:gd name="connsiteX2" fmla="*/ 80938 w 87757"/>
                <a:gd name="connsiteY2" fmla="*/ 496 h 49813"/>
                <a:gd name="connsiteX3" fmla="*/ 73350 w 87757"/>
                <a:gd name="connsiteY3" fmla="*/ 4290 h 49813"/>
                <a:gd name="connsiteX4" fmla="*/ 5059 w 87757"/>
                <a:gd name="connsiteY4" fmla="*/ 38433 h 49813"/>
                <a:gd name="connsiteX5" fmla="*/ 0 w 87757"/>
                <a:gd name="connsiteY5" fmla="*/ 40962 h 49813"/>
                <a:gd name="connsiteX6" fmla="*/ 6323 w 87757"/>
                <a:gd name="connsiteY6" fmla="*/ 43491 h 49813"/>
                <a:gd name="connsiteX7" fmla="*/ 6323 w 87757"/>
                <a:gd name="connsiteY7" fmla="*/ 43491 h 49813"/>
                <a:gd name="connsiteX8" fmla="*/ 3794 w 87757"/>
                <a:gd name="connsiteY8" fmla="*/ 49814 h 49813"/>
                <a:gd name="connsiteX9" fmla="*/ 3794 w 87757"/>
                <a:gd name="connsiteY9" fmla="*/ 49814 h 49813"/>
                <a:gd name="connsiteX10" fmla="*/ 84732 w 87757"/>
                <a:gd name="connsiteY10" fmla="*/ 9348 h 49813"/>
                <a:gd name="connsiteX11" fmla="*/ 87262 w 87757"/>
                <a:gd name="connsiteY11" fmla="*/ 3025 h 49813"/>
                <a:gd name="connsiteX12" fmla="*/ 87262 w 87757"/>
                <a:gd name="connsiteY12" fmla="*/ 3025 h 49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757" h="49813">
                  <a:moveTo>
                    <a:pt x="87262" y="3025"/>
                  </a:moveTo>
                  <a:cubicBezTo>
                    <a:pt x="85997" y="496"/>
                    <a:pt x="83468" y="-768"/>
                    <a:pt x="80938" y="496"/>
                  </a:cubicBezTo>
                  <a:cubicBezTo>
                    <a:pt x="80938" y="496"/>
                    <a:pt x="80938" y="496"/>
                    <a:pt x="80938" y="496"/>
                  </a:cubicBezTo>
                  <a:lnTo>
                    <a:pt x="73350" y="4290"/>
                  </a:lnTo>
                  <a:lnTo>
                    <a:pt x="5059" y="38433"/>
                  </a:lnTo>
                  <a:lnTo>
                    <a:pt x="0" y="40962"/>
                  </a:lnTo>
                  <a:cubicBezTo>
                    <a:pt x="2529" y="39697"/>
                    <a:pt x="5059" y="40962"/>
                    <a:pt x="6323" y="43491"/>
                  </a:cubicBezTo>
                  <a:cubicBezTo>
                    <a:pt x="6323" y="43491"/>
                    <a:pt x="6323" y="43491"/>
                    <a:pt x="6323" y="43491"/>
                  </a:cubicBezTo>
                  <a:cubicBezTo>
                    <a:pt x="7588" y="46020"/>
                    <a:pt x="6323" y="48549"/>
                    <a:pt x="3794" y="49814"/>
                  </a:cubicBezTo>
                  <a:cubicBezTo>
                    <a:pt x="3794" y="49814"/>
                    <a:pt x="3794" y="49814"/>
                    <a:pt x="3794" y="49814"/>
                  </a:cubicBezTo>
                  <a:lnTo>
                    <a:pt x="84732" y="9348"/>
                  </a:lnTo>
                  <a:cubicBezTo>
                    <a:pt x="87262" y="8083"/>
                    <a:pt x="88526" y="5554"/>
                    <a:pt x="87262" y="3025"/>
                  </a:cubicBezTo>
                  <a:cubicBezTo>
                    <a:pt x="87262" y="3025"/>
                    <a:pt x="87262" y="3025"/>
                    <a:pt x="87262" y="3025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1" name="Freeform: Shape 270">
              <a:extLst>
                <a:ext uri="{FF2B5EF4-FFF2-40B4-BE49-F238E27FC236}">
                  <a16:creationId xmlns:a16="http://schemas.microsoft.com/office/drawing/2014/main" id="{DB2FADDE-6ED9-4C05-8D60-B581FE8BD4DA}"/>
                </a:ext>
              </a:extLst>
            </p:cNvPr>
            <p:cNvSpPr/>
            <p:nvPr/>
          </p:nvSpPr>
          <p:spPr>
            <a:xfrm>
              <a:off x="9743970" y="5284867"/>
              <a:ext cx="107992" cy="59614"/>
            </a:xfrm>
            <a:custGeom>
              <a:avLst/>
              <a:gdLst>
                <a:gd name="connsiteX0" fmla="*/ 0 w 107992"/>
                <a:gd name="connsiteY0" fmla="*/ 57401 h 59614"/>
                <a:gd name="connsiteX1" fmla="*/ 0 w 107992"/>
                <a:gd name="connsiteY1" fmla="*/ 57401 h 59614"/>
                <a:gd name="connsiteX2" fmla="*/ 0 w 107992"/>
                <a:gd name="connsiteY2" fmla="*/ 57401 h 59614"/>
                <a:gd name="connsiteX3" fmla="*/ 1265 w 107992"/>
                <a:gd name="connsiteY3" fmla="*/ 58666 h 59614"/>
                <a:gd name="connsiteX4" fmla="*/ 6323 w 107992"/>
                <a:gd name="connsiteY4" fmla="*/ 58666 h 59614"/>
                <a:gd name="connsiteX5" fmla="*/ 13911 w 107992"/>
                <a:gd name="connsiteY5" fmla="*/ 54872 h 59614"/>
                <a:gd name="connsiteX6" fmla="*/ 104967 w 107992"/>
                <a:gd name="connsiteY6" fmla="*/ 9348 h 59614"/>
                <a:gd name="connsiteX7" fmla="*/ 107496 w 107992"/>
                <a:gd name="connsiteY7" fmla="*/ 3025 h 59614"/>
                <a:gd name="connsiteX8" fmla="*/ 107496 w 107992"/>
                <a:gd name="connsiteY8" fmla="*/ 3025 h 59614"/>
                <a:gd name="connsiteX9" fmla="*/ 101173 w 107992"/>
                <a:gd name="connsiteY9" fmla="*/ 496 h 59614"/>
                <a:gd name="connsiteX10" fmla="*/ 101173 w 107992"/>
                <a:gd name="connsiteY10" fmla="*/ 496 h 59614"/>
                <a:gd name="connsiteX11" fmla="*/ 97379 w 107992"/>
                <a:gd name="connsiteY11" fmla="*/ 1761 h 59614"/>
                <a:gd name="connsiteX12" fmla="*/ 2529 w 107992"/>
                <a:gd name="connsiteY12" fmla="*/ 49814 h 59614"/>
                <a:gd name="connsiteX13" fmla="*/ 2529 w 107992"/>
                <a:gd name="connsiteY13" fmla="*/ 49814 h 59614"/>
                <a:gd name="connsiteX14" fmla="*/ 2529 w 107992"/>
                <a:gd name="connsiteY14" fmla="*/ 49814 h 59614"/>
                <a:gd name="connsiteX15" fmla="*/ 2529 w 107992"/>
                <a:gd name="connsiteY15" fmla="*/ 49814 h 59614"/>
                <a:gd name="connsiteX16" fmla="*/ 2529 w 107992"/>
                <a:gd name="connsiteY16" fmla="*/ 49814 h 59614"/>
                <a:gd name="connsiteX17" fmla="*/ 2529 w 107992"/>
                <a:gd name="connsiteY17" fmla="*/ 51078 h 59614"/>
                <a:gd name="connsiteX18" fmla="*/ 2529 w 107992"/>
                <a:gd name="connsiteY18" fmla="*/ 51078 h 59614"/>
                <a:gd name="connsiteX19" fmla="*/ 2529 w 107992"/>
                <a:gd name="connsiteY19" fmla="*/ 52343 h 59614"/>
                <a:gd name="connsiteX20" fmla="*/ 2529 w 107992"/>
                <a:gd name="connsiteY20" fmla="*/ 52343 h 59614"/>
                <a:gd name="connsiteX21" fmla="*/ 2529 w 107992"/>
                <a:gd name="connsiteY21" fmla="*/ 53608 h 59614"/>
                <a:gd name="connsiteX22" fmla="*/ 2529 w 107992"/>
                <a:gd name="connsiteY22" fmla="*/ 54872 h 59614"/>
                <a:gd name="connsiteX23" fmla="*/ 2529 w 107992"/>
                <a:gd name="connsiteY23" fmla="*/ 56137 h 59614"/>
                <a:gd name="connsiteX24" fmla="*/ 0 w 107992"/>
                <a:gd name="connsiteY24" fmla="*/ 57401 h 59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7992" h="59614">
                  <a:moveTo>
                    <a:pt x="0" y="57401"/>
                  </a:moveTo>
                  <a:lnTo>
                    <a:pt x="0" y="57401"/>
                  </a:lnTo>
                  <a:lnTo>
                    <a:pt x="0" y="57401"/>
                  </a:lnTo>
                  <a:lnTo>
                    <a:pt x="1265" y="58666"/>
                  </a:lnTo>
                  <a:cubicBezTo>
                    <a:pt x="2529" y="59930"/>
                    <a:pt x="5059" y="59930"/>
                    <a:pt x="6323" y="58666"/>
                  </a:cubicBezTo>
                  <a:lnTo>
                    <a:pt x="13911" y="54872"/>
                  </a:lnTo>
                  <a:lnTo>
                    <a:pt x="104967" y="9348"/>
                  </a:lnTo>
                  <a:cubicBezTo>
                    <a:pt x="107496" y="8084"/>
                    <a:pt x="108761" y="5554"/>
                    <a:pt x="107496" y="3025"/>
                  </a:cubicBezTo>
                  <a:cubicBezTo>
                    <a:pt x="107496" y="3025"/>
                    <a:pt x="107496" y="3025"/>
                    <a:pt x="107496" y="3025"/>
                  </a:cubicBezTo>
                  <a:cubicBezTo>
                    <a:pt x="106232" y="496"/>
                    <a:pt x="103702" y="-769"/>
                    <a:pt x="101173" y="496"/>
                  </a:cubicBezTo>
                  <a:cubicBezTo>
                    <a:pt x="101173" y="496"/>
                    <a:pt x="101173" y="496"/>
                    <a:pt x="101173" y="496"/>
                  </a:cubicBezTo>
                  <a:lnTo>
                    <a:pt x="97379" y="1761"/>
                  </a:lnTo>
                  <a:lnTo>
                    <a:pt x="2529" y="49814"/>
                  </a:lnTo>
                  <a:lnTo>
                    <a:pt x="2529" y="49814"/>
                  </a:lnTo>
                  <a:lnTo>
                    <a:pt x="2529" y="49814"/>
                  </a:lnTo>
                  <a:lnTo>
                    <a:pt x="2529" y="49814"/>
                  </a:lnTo>
                  <a:lnTo>
                    <a:pt x="2529" y="49814"/>
                  </a:lnTo>
                  <a:lnTo>
                    <a:pt x="2529" y="51078"/>
                  </a:lnTo>
                  <a:lnTo>
                    <a:pt x="2529" y="51078"/>
                  </a:lnTo>
                  <a:lnTo>
                    <a:pt x="2529" y="52343"/>
                  </a:lnTo>
                  <a:lnTo>
                    <a:pt x="2529" y="52343"/>
                  </a:lnTo>
                  <a:cubicBezTo>
                    <a:pt x="2529" y="52343"/>
                    <a:pt x="2529" y="52343"/>
                    <a:pt x="2529" y="53608"/>
                  </a:cubicBezTo>
                  <a:cubicBezTo>
                    <a:pt x="2529" y="53608"/>
                    <a:pt x="2529" y="54872"/>
                    <a:pt x="2529" y="54872"/>
                  </a:cubicBezTo>
                  <a:cubicBezTo>
                    <a:pt x="2529" y="54872"/>
                    <a:pt x="2529" y="54872"/>
                    <a:pt x="2529" y="56137"/>
                  </a:cubicBezTo>
                  <a:cubicBezTo>
                    <a:pt x="2529" y="57401"/>
                    <a:pt x="0" y="57401"/>
                    <a:pt x="0" y="57401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2" name="Freeform: Shape 271">
              <a:extLst>
                <a:ext uri="{FF2B5EF4-FFF2-40B4-BE49-F238E27FC236}">
                  <a16:creationId xmlns:a16="http://schemas.microsoft.com/office/drawing/2014/main" id="{2415DCF3-E0B1-4E08-8CC0-09C214C82F2D}"/>
                </a:ext>
              </a:extLst>
            </p:cNvPr>
            <p:cNvSpPr/>
            <p:nvPr/>
          </p:nvSpPr>
          <p:spPr>
            <a:xfrm>
              <a:off x="11514496" y="1973491"/>
              <a:ext cx="31616" cy="174508"/>
            </a:xfrm>
            <a:custGeom>
              <a:avLst/>
              <a:gdLst>
                <a:gd name="connsiteX0" fmla="*/ 5059 w 31616"/>
                <a:gd name="connsiteY0" fmla="*/ 5058 h 174508"/>
                <a:gd name="connsiteX1" fmla="*/ 0 w 31616"/>
                <a:gd name="connsiteY1" fmla="*/ 1264 h 174508"/>
                <a:gd name="connsiteX2" fmla="*/ 0 w 31616"/>
                <a:gd name="connsiteY2" fmla="*/ 1264 h 174508"/>
                <a:gd name="connsiteX3" fmla="*/ 22764 w 31616"/>
                <a:gd name="connsiteY3" fmla="*/ 170715 h 174508"/>
                <a:gd name="connsiteX4" fmla="*/ 27823 w 31616"/>
                <a:gd name="connsiteY4" fmla="*/ 174509 h 174508"/>
                <a:gd name="connsiteX5" fmla="*/ 31617 w 31616"/>
                <a:gd name="connsiteY5" fmla="*/ 169450 h 174508"/>
                <a:gd name="connsiteX6" fmla="*/ 31617 w 31616"/>
                <a:gd name="connsiteY6" fmla="*/ 166921 h 174508"/>
                <a:gd name="connsiteX7" fmla="*/ 8853 w 31616"/>
                <a:gd name="connsiteY7" fmla="*/ 3794 h 174508"/>
                <a:gd name="connsiteX8" fmla="*/ 8853 w 31616"/>
                <a:gd name="connsiteY8" fmla="*/ 0 h 174508"/>
                <a:gd name="connsiteX9" fmla="*/ 5059 w 31616"/>
                <a:gd name="connsiteY9" fmla="*/ 5058 h 174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616" h="174508">
                  <a:moveTo>
                    <a:pt x="5059" y="5058"/>
                  </a:moveTo>
                  <a:cubicBezTo>
                    <a:pt x="2529" y="5058"/>
                    <a:pt x="0" y="3794"/>
                    <a:pt x="0" y="1264"/>
                  </a:cubicBezTo>
                  <a:cubicBezTo>
                    <a:pt x="0" y="1264"/>
                    <a:pt x="0" y="1264"/>
                    <a:pt x="0" y="1264"/>
                  </a:cubicBezTo>
                  <a:lnTo>
                    <a:pt x="22764" y="170715"/>
                  </a:lnTo>
                  <a:cubicBezTo>
                    <a:pt x="22764" y="173244"/>
                    <a:pt x="25293" y="174509"/>
                    <a:pt x="27823" y="174509"/>
                  </a:cubicBezTo>
                  <a:cubicBezTo>
                    <a:pt x="30352" y="174509"/>
                    <a:pt x="31617" y="171980"/>
                    <a:pt x="31617" y="169450"/>
                  </a:cubicBezTo>
                  <a:lnTo>
                    <a:pt x="31617" y="166921"/>
                  </a:lnTo>
                  <a:lnTo>
                    <a:pt x="8853" y="3794"/>
                  </a:lnTo>
                  <a:lnTo>
                    <a:pt x="8853" y="0"/>
                  </a:lnTo>
                  <a:cubicBezTo>
                    <a:pt x="8853" y="2529"/>
                    <a:pt x="7588" y="5058"/>
                    <a:pt x="5059" y="5058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3" name="Freeform: Shape 272">
              <a:extLst>
                <a:ext uri="{FF2B5EF4-FFF2-40B4-BE49-F238E27FC236}">
                  <a16:creationId xmlns:a16="http://schemas.microsoft.com/office/drawing/2014/main" id="{A813E04D-82C0-4508-8E0C-CB42EF6F9F23}"/>
                </a:ext>
              </a:extLst>
            </p:cNvPr>
            <p:cNvSpPr/>
            <p:nvPr/>
          </p:nvSpPr>
          <p:spPr>
            <a:xfrm>
              <a:off x="11274211" y="241049"/>
              <a:ext cx="247873" cy="1737500"/>
            </a:xfrm>
            <a:custGeom>
              <a:avLst/>
              <a:gdLst>
                <a:gd name="connsiteX0" fmla="*/ 5059 w 247873"/>
                <a:gd name="connsiteY0" fmla="*/ 0 h 1737500"/>
                <a:gd name="connsiteX1" fmla="*/ 5059 w 247873"/>
                <a:gd name="connsiteY1" fmla="*/ 0 h 1737500"/>
                <a:gd name="connsiteX2" fmla="*/ 0 w 247873"/>
                <a:gd name="connsiteY2" fmla="*/ 5058 h 1737500"/>
                <a:gd name="connsiteX3" fmla="*/ 1265 w 247873"/>
                <a:gd name="connsiteY3" fmla="*/ 10116 h 1737500"/>
                <a:gd name="connsiteX4" fmla="*/ 239021 w 247873"/>
                <a:gd name="connsiteY4" fmla="*/ 1733706 h 1737500"/>
                <a:gd name="connsiteX5" fmla="*/ 244080 w 247873"/>
                <a:gd name="connsiteY5" fmla="*/ 1737500 h 1737500"/>
                <a:gd name="connsiteX6" fmla="*/ 244080 w 247873"/>
                <a:gd name="connsiteY6" fmla="*/ 1737500 h 1737500"/>
                <a:gd name="connsiteX7" fmla="*/ 247874 w 247873"/>
                <a:gd name="connsiteY7" fmla="*/ 1732442 h 1737500"/>
                <a:gd name="connsiteX8" fmla="*/ 246609 w 247873"/>
                <a:gd name="connsiteY8" fmla="*/ 1726119 h 1737500"/>
                <a:gd name="connsiteX9" fmla="*/ 10117 w 247873"/>
                <a:gd name="connsiteY9" fmla="*/ 3794 h 1737500"/>
                <a:gd name="connsiteX10" fmla="*/ 10117 w 247873"/>
                <a:gd name="connsiteY10" fmla="*/ 3794 h 1737500"/>
                <a:gd name="connsiteX11" fmla="*/ 10117 w 247873"/>
                <a:gd name="connsiteY11" fmla="*/ 3794 h 1737500"/>
                <a:gd name="connsiteX12" fmla="*/ 10117 w 247873"/>
                <a:gd name="connsiteY12" fmla="*/ 2529 h 1737500"/>
                <a:gd name="connsiteX13" fmla="*/ 10117 w 247873"/>
                <a:gd name="connsiteY13" fmla="*/ 2529 h 1737500"/>
                <a:gd name="connsiteX14" fmla="*/ 10117 w 247873"/>
                <a:gd name="connsiteY14" fmla="*/ 2529 h 1737500"/>
                <a:gd name="connsiteX15" fmla="*/ 8853 w 247873"/>
                <a:gd name="connsiteY15" fmla="*/ 1265 h 1737500"/>
                <a:gd name="connsiteX16" fmla="*/ 8853 w 247873"/>
                <a:gd name="connsiteY16" fmla="*/ 1265 h 1737500"/>
                <a:gd name="connsiteX17" fmla="*/ 8853 w 247873"/>
                <a:gd name="connsiteY17" fmla="*/ 1265 h 1737500"/>
                <a:gd name="connsiteX18" fmla="*/ 7588 w 247873"/>
                <a:gd name="connsiteY18" fmla="*/ 1265 h 1737500"/>
                <a:gd name="connsiteX19" fmla="*/ 6323 w 247873"/>
                <a:gd name="connsiteY19" fmla="*/ 1265 h 1737500"/>
                <a:gd name="connsiteX20" fmla="*/ 6323 w 247873"/>
                <a:gd name="connsiteY20" fmla="*/ 1265 h 1737500"/>
                <a:gd name="connsiteX21" fmla="*/ 5059 w 247873"/>
                <a:gd name="connsiteY21" fmla="*/ 0 h 173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47873" h="1737500">
                  <a:moveTo>
                    <a:pt x="5059" y="0"/>
                  </a:moveTo>
                  <a:lnTo>
                    <a:pt x="5059" y="0"/>
                  </a:lnTo>
                  <a:cubicBezTo>
                    <a:pt x="1265" y="0"/>
                    <a:pt x="0" y="2529"/>
                    <a:pt x="0" y="5058"/>
                  </a:cubicBezTo>
                  <a:lnTo>
                    <a:pt x="1265" y="10116"/>
                  </a:lnTo>
                  <a:lnTo>
                    <a:pt x="239021" y="1733706"/>
                  </a:lnTo>
                  <a:cubicBezTo>
                    <a:pt x="239021" y="1736235"/>
                    <a:pt x="241550" y="1737500"/>
                    <a:pt x="244080" y="1737500"/>
                  </a:cubicBezTo>
                  <a:cubicBezTo>
                    <a:pt x="244080" y="1737500"/>
                    <a:pt x="244080" y="1737500"/>
                    <a:pt x="244080" y="1737500"/>
                  </a:cubicBezTo>
                  <a:cubicBezTo>
                    <a:pt x="246609" y="1737500"/>
                    <a:pt x="247874" y="1734971"/>
                    <a:pt x="247874" y="1732442"/>
                  </a:cubicBezTo>
                  <a:lnTo>
                    <a:pt x="246609" y="1726119"/>
                  </a:lnTo>
                  <a:lnTo>
                    <a:pt x="10117" y="3794"/>
                  </a:lnTo>
                  <a:lnTo>
                    <a:pt x="10117" y="3794"/>
                  </a:lnTo>
                  <a:lnTo>
                    <a:pt x="10117" y="3794"/>
                  </a:lnTo>
                  <a:lnTo>
                    <a:pt x="10117" y="2529"/>
                  </a:lnTo>
                  <a:lnTo>
                    <a:pt x="10117" y="2529"/>
                  </a:lnTo>
                  <a:lnTo>
                    <a:pt x="10117" y="2529"/>
                  </a:lnTo>
                  <a:lnTo>
                    <a:pt x="8853" y="1265"/>
                  </a:lnTo>
                  <a:lnTo>
                    <a:pt x="8853" y="1265"/>
                  </a:lnTo>
                  <a:lnTo>
                    <a:pt x="8853" y="1265"/>
                  </a:lnTo>
                  <a:lnTo>
                    <a:pt x="7588" y="1265"/>
                  </a:lnTo>
                  <a:lnTo>
                    <a:pt x="6323" y="1265"/>
                  </a:lnTo>
                  <a:lnTo>
                    <a:pt x="6323" y="1265"/>
                  </a:lnTo>
                  <a:lnTo>
                    <a:pt x="5059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4" name="Freeform: Shape 273">
              <a:extLst>
                <a:ext uri="{FF2B5EF4-FFF2-40B4-BE49-F238E27FC236}">
                  <a16:creationId xmlns:a16="http://schemas.microsoft.com/office/drawing/2014/main" id="{8AA86525-F079-41A9-950F-54EBC4DB93B2}"/>
                </a:ext>
              </a:extLst>
            </p:cNvPr>
            <p:cNvSpPr/>
            <p:nvPr/>
          </p:nvSpPr>
          <p:spPr>
            <a:xfrm>
              <a:off x="11614404" y="4942668"/>
              <a:ext cx="58174" cy="349017"/>
            </a:xfrm>
            <a:custGeom>
              <a:avLst/>
              <a:gdLst>
                <a:gd name="connsiteX0" fmla="*/ 5059 w 58174"/>
                <a:gd name="connsiteY0" fmla="*/ 6323 h 349017"/>
                <a:gd name="connsiteX1" fmla="*/ 0 w 58174"/>
                <a:gd name="connsiteY1" fmla="*/ 2529 h 349017"/>
                <a:gd name="connsiteX2" fmla="*/ 0 w 58174"/>
                <a:gd name="connsiteY2" fmla="*/ 2529 h 349017"/>
                <a:gd name="connsiteX3" fmla="*/ 0 w 58174"/>
                <a:gd name="connsiteY3" fmla="*/ 5058 h 349017"/>
                <a:gd name="connsiteX4" fmla="*/ 50586 w 58174"/>
                <a:gd name="connsiteY4" fmla="*/ 341430 h 349017"/>
                <a:gd name="connsiteX5" fmla="*/ 50586 w 58174"/>
                <a:gd name="connsiteY5" fmla="*/ 345224 h 349017"/>
                <a:gd name="connsiteX6" fmla="*/ 55645 w 58174"/>
                <a:gd name="connsiteY6" fmla="*/ 349018 h 349017"/>
                <a:gd name="connsiteX7" fmla="*/ 55645 w 58174"/>
                <a:gd name="connsiteY7" fmla="*/ 349018 h 349017"/>
                <a:gd name="connsiteX8" fmla="*/ 56910 w 58174"/>
                <a:gd name="connsiteY8" fmla="*/ 349018 h 349017"/>
                <a:gd name="connsiteX9" fmla="*/ 58175 w 58174"/>
                <a:gd name="connsiteY9" fmla="*/ 347753 h 349017"/>
                <a:gd name="connsiteX10" fmla="*/ 58175 w 58174"/>
                <a:gd name="connsiteY10" fmla="*/ 347753 h 349017"/>
                <a:gd name="connsiteX11" fmla="*/ 58175 w 58174"/>
                <a:gd name="connsiteY11" fmla="*/ 346488 h 349017"/>
                <a:gd name="connsiteX12" fmla="*/ 58175 w 58174"/>
                <a:gd name="connsiteY12" fmla="*/ 345224 h 349017"/>
                <a:gd name="connsiteX13" fmla="*/ 58175 w 58174"/>
                <a:gd name="connsiteY13" fmla="*/ 343959 h 349017"/>
                <a:gd name="connsiteX14" fmla="*/ 58175 w 58174"/>
                <a:gd name="connsiteY14" fmla="*/ 342695 h 349017"/>
                <a:gd name="connsiteX15" fmla="*/ 58175 w 58174"/>
                <a:gd name="connsiteY15" fmla="*/ 342695 h 349017"/>
                <a:gd name="connsiteX16" fmla="*/ 58175 w 58174"/>
                <a:gd name="connsiteY16" fmla="*/ 340166 h 349017"/>
                <a:gd name="connsiteX17" fmla="*/ 7588 w 58174"/>
                <a:gd name="connsiteY17" fmla="*/ 0 h 349017"/>
                <a:gd name="connsiteX18" fmla="*/ 5059 w 58174"/>
                <a:gd name="connsiteY18" fmla="*/ 6323 h 349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8174" h="349017">
                  <a:moveTo>
                    <a:pt x="5059" y="6323"/>
                  </a:moveTo>
                  <a:cubicBezTo>
                    <a:pt x="2529" y="6323"/>
                    <a:pt x="0" y="5058"/>
                    <a:pt x="0" y="2529"/>
                  </a:cubicBezTo>
                  <a:cubicBezTo>
                    <a:pt x="0" y="2529"/>
                    <a:pt x="0" y="2529"/>
                    <a:pt x="0" y="2529"/>
                  </a:cubicBezTo>
                  <a:lnTo>
                    <a:pt x="0" y="5058"/>
                  </a:lnTo>
                  <a:lnTo>
                    <a:pt x="50586" y="341430"/>
                  </a:lnTo>
                  <a:lnTo>
                    <a:pt x="50586" y="345224"/>
                  </a:lnTo>
                  <a:cubicBezTo>
                    <a:pt x="50586" y="347753"/>
                    <a:pt x="53116" y="349018"/>
                    <a:pt x="55645" y="349018"/>
                  </a:cubicBezTo>
                  <a:cubicBezTo>
                    <a:pt x="55645" y="349018"/>
                    <a:pt x="55645" y="349018"/>
                    <a:pt x="55645" y="349018"/>
                  </a:cubicBezTo>
                  <a:cubicBezTo>
                    <a:pt x="55645" y="349018"/>
                    <a:pt x="56910" y="349018"/>
                    <a:pt x="56910" y="349018"/>
                  </a:cubicBezTo>
                  <a:lnTo>
                    <a:pt x="58175" y="347753"/>
                  </a:lnTo>
                  <a:lnTo>
                    <a:pt x="58175" y="347753"/>
                  </a:lnTo>
                  <a:cubicBezTo>
                    <a:pt x="58175" y="347753"/>
                    <a:pt x="58175" y="347753"/>
                    <a:pt x="58175" y="346488"/>
                  </a:cubicBezTo>
                  <a:cubicBezTo>
                    <a:pt x="58175" y="346488"/>
                    <a:pt x="58175" y="346488"/>
                    <a:pt x="58175" y="345224"/>
                  </a:cubicBezTo>
                  <a:cubicBezTo>
                    <a:pt x="58175" y="345224"/>
                    <a:pt x="58175" y="345224"/>
                    <a:pt x="58175" y="343959"/>
                  </a:cubicBezTo>
                  <a:cubicBezTo>
                    <a:pt x="58175" y="343959"/>
                    <a:pt x="58175" y="342695"/>
                    <a:pt x="58175" y="342695"/>
                  </a:cubicBezTo>
                  <a:lnTo>
                    <a:pt x="58175" y="342695"/>
                  </a:lnTo>
                  <a:lnTo>
                    <a:pt x="58175" y="340166"/>
                  </a:lnTo>
                  <a:lnTo>
                    <a:pt x="7588" y="0"/>
                  </a:lnTo>
                  <a:cubicBezTo>
                    <a:pt x="7588" y="3794"/>
                    <a:pt x="6323" y="6323"/>
                    <a:pt x="5059" y="6323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5" name="Freeform: Shape 274">
              <a:extLst>
                <a:ext uri="{FF2B5EF4-FFF2-40B4-BE49-F238E27FC236}">
                  <a16:creationId xmlns:a16="http://schemas.microsoft.com/office/drawing/2014/main" id="{8AB045CD-8658-4C51-94E5-566412FD48A4}"/>
                </a:ext>
              </a:extLst>
            </p:cNvPr>
            <p:cNvSpPr/>
            <p:nvPr/>
          </p:nvSpPr>
          <p:spPr>
            <a:xfrm>
              <a:off x="11613140" y="4937610"/>
              <a:ext cx="10117" cy="11380"/>
            </a:xfrm>
            <a:custGeom>
              <a:avLst/>
              <a:gdLst>
                <a:gd name="connsiteX0" fmla="*/ 5059 w 10117"/>
                <a:gd name="connsiteY0" fmla="*/ 5058 h 11380"/>
                <a:gd name="connsiteX1" fmla="*/ 0 w 10117"/>
                <a:gd name="connsiteY1" fmla="*/ 1265 h 11380"/>
                <a:gd name="connsiteX2" fmla="*/ 0 w 10117"/>
                <a:gd name="connsiteY2" fmla="*/ 1265 h 11380"/>
                <a:gd name="connsiteX3" fmla="*/ 1265 w 10117"/>
                <a:gd name="connsiteY3" fmla="*/ 7587 h 11380"/>
                <a:gd name="connsiteX4" fmla="*/ 6323 w 10117"/>
                <a:gd name="connsiteY4" fmla="*/ 11381 h 11380"/>
                <a:gd name="connsiteX5" fmla="*/ 6323 w 10117"/>
                <a:gd name="connsiteY5" fmla="*/ 11381 h 11380"/>
                <a:gd name="connsiteX6" fmla="*/ 10117 w 10117"/>
                <a:gd name="connsiteY6" fmla="*/ 6323 h 11380"/>
                <a:gd name="connsiteX7" fmla="*/ 8853 w 10117"/>
                <a:gd name="connsiteY7" fmla="*/ 0 h 11380"/>
                <a:gd name="connsiteX8" fmla="*/ 8853 w 10117"/>
                <a:gd name="connsiteY8" fmla="*/ 0 h 11380"/>
                <a:gd name="connsiteX9" fmla="*/ 5059 w 10117"/>
                <a:gd name="connsiteY9" fmla="*/ 5058 h 11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117" h="11380">
                  <a:moveTo>
                    <a:pt x="5059" y="5058"/>
                  </a:moveTo>
                  <a:cubicBezTo>
                    <a:pt x="2529" y="5058"/>
                    <a:pt x="0" y="3794"/>
                    <a:pt x="0" y="1265"/>
                  </a:cubicBezTo>
                  <a:cubicBezTo>
                    <a:pt x="0" y="1265"/>
                    <a:pt x="0" y="1265"/>
                    <a:pt x="0" y="1265"/>
                  </a:cubicBezTo>
                  <a:lnTo>
                    <a:pt x="1265" y="7587"/>
                  </a:lnTo>
                  <a:cubicBezTo>
                    <a:pt x="1265" y="10116"/>
                    <a:pt x="3794" y="11381"/>
                    <a:pt x="6323" y="11381"/>
                  </a:cubicBezTo>
                  <a:cubicBezTo>
                    <a:pt x="6323" y="11381"/>
                    <a:pt x="6323" y="11381"/>
                    <a:pt x="6323" y="11381"/>
                  </a:cubicBezTo>
                  <a:cubicBezTo>
                    <a:pt x="8853" y="11381"/>
                    <a:pt x="10117" y="8852"/>
                    <a:pt x="10117" y="6323"/>
                  </a:cubicBezTo>
                  <a:lnTo>
                    <a:pt x="8853" y="0"/>
                  </a:lnTo>
                  <a:lnTo>
                    <a:pt x="8853" y="0"/>
                  </a:lnTo>
                  <a:cubicBezTo>
                    <a:pt x="10117" y="2529"/>
                    <a:pt x="7588" y="5058"/>
                    <a:pt x="5059" y="5058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" name="Freeform: Shape 275">
              <a:extLst>
                <a:ext uri="{FF2B5EF4-FFF2-40B4-BE49-F238E27FC236}">
                  <a16:creationId xmlns:a16="http://schemas.microsoft.com/office/drawing/2014/main" id="{1D09532C-F589-487C-BA1A-815D5D36C660}"/>
                </a:ext>
              </a:extLst>
            </p:cNvPr>
            <p:cNvSpPr/>
            <p:nvPr/>
          </p:nvSpPr>
          <p:spPr>
            <a:xfrm>
              <a:off x="11610611" y="4917377"/>
              <a:ext cx="12646" cy="25291"/>
            </a:xfrm>
            <a:custGeom>
              <a:avLst/>
              <a:gdLst>
                <a:gd name="connsiteX0" fmla="*/ 5059 w 12646"/>
                <a:gd name="connsiteY0" fmla="*/ 5058 h 25291"/>
                <a:gd name="connsiteX1" fmla="*/ 0 w 12646"/>
                <a:gd name="connsiteY1" fmla="*/ 1265 h 25291"/>
                <a:gd name="connsiteX2" fmla="*/ 0 w 12646"/>
                <a:gd name="connsiteY2" fmla="*/ 1265 h 25291"/>
                <a:gd name="connsiteX3" fmla="*/ 0 w 12646"/>
                <a:gd name="connsiteY3" fmla="*/ 1265 h 25291"/>
                <a:gd name="connsiteX4" fmla="*/ 1265 w 12646"/>
                <a:gd name="connsiteY4" fmla="*/ 7587 h 25291"/>
                <a:gd name="connsiteX5" fmla="*/ 2529 w 12646"/>
                <a:gd name="connsiteY5" fmla="*/ 12646 h 25291"/>
                <a:gd name="connsiteX6" fmla="*/ 3794 w 12646"/>
                <a:gd name="connsiteY6" fmla="*/ 18968 h 25291"/>
                <a:gd name="connsiteX7" fmla="*/ 3794 w 12646"/>
                <a:gd name="connsiteY7" fmla="*/ 21498 h 25291"/>
                <a:gd name="connsiteX8" fmla="*/ 3794 w 12646"/>
                <a:gd name="connsiteY8" fmla="*/ 21498 h 25291"/>
                <a:gd name="connsiteX9" fmla="*/ 8853 w 12646"/>
                <a:gd name="connsiteY9" fmla="*/ 25291 h 25291"/>
                <a:gd name="connsiteX10" fmla="*/ 8853 w 12646"/>
                <a:gd name="connsiteY10" fmla="*/ 25291 h 25291"/>
                <a:gd name="connsiteX11" fmla="*/ 12647 w 12646"/>
                <a:gd name="connsiteY11" fmla="*/ 20233 h 25291"/>
                <a:gd name="connsiteX12" fmla="*/ 12647 w 12646"/>
                <a:gd name="connsiteY12" fmla="*/ 20233 h 25291"/>
                <a:gd name="connsiteX13" fmla="*/ 10117 w 12646"/>
                <a:gd name="connsiteY13" fmla="*/ 0 h 25291"/>
                <a:gd name="connsiteX14" fmla="*/ 10117 w 12646"/>
                <a:gd name="connsiteY14" fmla="*/ 0 h 25291"/>
                <a:gd name="connsiteX15" fmla="*/ 5059 w 12646"/>
                <a:gd name="connsiteY15" fmla="*/ 5058 h 25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646" h="25291">
                  <a:moveTo>
                    <a:pt x="5059" y="5058"/>
                  </a:moveTo>
                  <a:cubicBezTo>
                    <a:pt x="2529" y="5058"/>
                    <a:pt x="0" y="3794"/>
                    <a:pt x="0" y="1265"/>
                  </a:cubicBezTo>
                  <a:cubicBezTo>
                    <a:pt x="0" y="1265"/>
                    <a:pt x="0" y="1265"/>
                    <a:pt x="0" y="1265"/>
                  </a:cubicBezTo>
                  <a:lnTo>
                    <a:pt x="0" y="1265"/>
                  </a:lnTo>
                  <a:lnTo>
                    <a:pt x="1265" y="7587"/>
                  </a:lnTo>
                  <a:lnTo>
                    <a:pt x="2529" y="12646"/>
                  </a:lnTo>
                  <a:lnTo>
                    <a:pt x="3794" y="18968"/>
                  </a:lnTo>
                  <a:lnTo>
                    <a:pt x="3794" y="21498"/>
                  </a:lnTo>
                  <a:lnTo>
                    <a:pt x="3794" y="21498"/>
                  </a:lnTo>
                  <a:cubicBezTo>
                    <a:pt x="3794" y="24026"/>
                    <a:pt x="6323" y="25291"/>
                    <a:pt x="8853" y="25291"/>
                  </a:cubicBezTo>
                  <a:cubicBezTo>
                    <a:pt x="8853" y="25291"/>
                    <a:pt x="8853" y="25291"/>
                    <a:pt x="8853" y="25291"/>
                  </a:cubicBezTo>
                  <a:cubicBezTo>
                    <a:pt x="11382" y="25291"/>
                    <a:pt x="12647" y="22762"/>
                    <a:pt x="12647" y="20233"/>
                  </a:cubicBezTo>
                  <a:lnTo>
                    <a:pt x="12647" y="20233"/>
                  </a:lnTo>
                  <a:lnTo>
                    <a:pt x="10117" y="0"/>
                  </a:lnTo>
                  <a:lnTo>
                    <a:pt x="10117" y="0"/>
                  </a:lnTo>
                  <a:cubicBezTo>
                    <a:pt x="8853" y="2529"/>
                    <a:pt x="7588" y="5058"/>
                    <a:pt x="5059" y="5058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7" name="Freeform: Shape 276">
              <a:extLst>
                <a:ext uri="{FF2B5EF4-FFF2-40B4-BE49-F238E27FC236}">
                  <a16:creationId xmlns:a16="http://schemas.microsoft.com/office/drawing/2014/main" id="{7FAF7D81-3C62-482A-9A35-835188FB2960}"/>
                </a:ext>
              </a:extLst>
            </p:cNvPr>
            <p:cNvSpPr/>
            <p:nvPr/>
          </p:nvSpPr>
          <p:spPr>
            <a:xfrm>
              <a:off x="11734547" y="3083771"/>
              <a:ext cx="437573" cy="187154"/>
            </a:xfrm>
            <a:custGeom>
              <a:avLst/>
              <a:gdLst>
                <a:gd name="connsiteX0" fmla="*/ 1265 w 437573"/>
                <a:gd name="connsiteY0" fmla="*/ 0 h 187154"/>
                <a:gd name="connsiteX1" fmla="*/ 1265 w 437573"/>
                <a:gd name="connsiteY1" fmla="*/ 0 h 187154"/>
                <a:gd name="connsiteX2" fmla="*/ 3794 w 437573"/>
                <a:gd name="connsiteY2" fmla="*/ 2529 h 187154"/>
                <a:gd name="connsiteX3" fmla="*/ 1265 w 437573"/>
                <a:gd name="connsiteY3" fmla="*/ 8852 h 187154"/>
                <a:gd name="connsiteX4" fmla="*/ 1265 w 437573"/>
                <a:gd name="connsiteY4" fmla="*/ 8852 h 187154"/>
                <a:gd name="connsiteX5" fmla="*/ 0 w 437573"/>
                <a:gd name="connsiteY5" fmla="*/ 10116 h 187154"/>
                <a:gd name="connsiteX6" fmla="*/ 435044 w 437573"/>
                <a:gd name="connsiteY6" fmla="*/ 187154 h 187154"/>
                <a:gd name="connsiteX7" fmla="*/ 432514 w 437573"/>
                <a:gd name="connsiteY7" fmla="*/ 180832 h 187154"/>
                <a:gd name="connsiteX8" fmla="*/ 432514 w 437573"/>
                <a:gd name="connsiteY8" fmla="*/ 180832 h 187154"/>
                <a:gd name="connsiteX9" fmla="*/ 437573 w 437573"/>
                <a:gd name="connsiteY9" fmla="*/ 178302 h 187154"/>
                <a:gd name="connsiteX10" fmla="*/ 437573 w 437573"/>
                <a:gd name="connsiteY10" fmla="*/ 178302 h 187154"/>
                <a:gd name="connsiteX11" fmla="*/ 429985 w 437573"/>
                <a:gd name="connsiteY11" fmla="*/ 175773 h 187154"/>
                <a:gd name="connsiteX12" fmla="*/ 1265 w 437573"/>
                <a:gd name="connsiteY12" fmla="*/ 0 h 187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7573" h="187154">
                  <a:moveTo>
                    <a:pt x="1265" y="0"/>
                  </a:moveTo>
                  <a:lnTo>
                    <a:pt x="1265" y="0"/>
                  </a:lnTo>
                  <a:cubicBezTo>
                    <a:pt x="2529" y="0"/>
                    <a:pt x="3794" y="1265"/>
                    <a:pt x="3794" y="2529"/>
                  </a:cubicBezTo>
                  <a:cubicBezTo>
                    <a:pt x="5059" y="5058"/>
                    <a:pt x="3794" y="7587"/>
                    <a:pt x="1265" y="8852"/>
                  </a:cubicBezTo>
                  <a:cubicBezTo>
                    <a:pt x="1265" y="8852"/>
                    <a:pt x="1265" y="8852"/>
                    <a:pt x="1265" y="8852"/>
                  </a:cubicBezTo>
                  <a:lnTo>
                    <a:pt x="0" y="10116"/>
                  </a:lnTo>
                  <a:lnTo>
                    <a:pt x="435044" y="187154"/>
                  </a:lnTo>
                  <a:cubicBezTo>
                    <a:pt x="432514" y="185890"/>
                    <a:pt x="431250" y="183361"/>
                    <a:pt x="432514" y="180832"/>
                  </a:cubicBezTo>
                  <a:cubicBezTo>
                    <a:pt x="432514" y="180832"/>
                    <a:pt x="432514" y="180832"/>
                    <a:pt x="432514" y="180832"/>
                  </a:cubicBezTo>
                  <a:cubicBezTo>
                    <a:pt x="433779" y="178302"/>
                    <a:pt x="436308" y="177038"/>
                    <a:pt x="437573" y="178302"/>
                  </a:cubicBezTo>
                  <a:cubicBezTo>
                    <a:pt x="437573" y="178302"/>
                    <a:pt x="437573" y="178302"/>
                    <a:pt x="437573" y="178302"/>
                  </a:cubicBezTo>
                  <a:lnTo>
                    <a:pt x="429985" y="175773"/>
                  </a:lnTo>
                  <a:lnTo>
                    <a:pt x="1265" y="0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" name="Freeform: Shape 277">
              <a:extLst>
                <a:ext uri="{FF2B5EF4-FFF2-40B4-BE49-F238E27FC236}">
                  <a16:creationId xmlns:a16="http://schemas.microsoft.com/office/drawing/2014/main" id="{C0C63FB1-7721-45D1-87A5-6362C55038AF}"/>
                </a:ext>
              </a:extLst>
            </p:cNvPr>
            <p:cNvSpPr/>
            <p:nvPr/>
          </p:nvSpPr>
          <p:spPr>
            <a:xfrm>
              <a:off x="12165301" y="3261577"/>
              <a:ext cx="52347" cy="29580"/>
            </a:xfrm>
            <a:custGeom>
              <a:avLst/>
              <a:gdLst>
                <a:gd name="connsiteX0" fmla="*/ 6819 w 52347"/>
                <a:gd name="connsiteY0" fmla="*/ 496 h 29580"/>
                <a:gd name="connsiteX1" fmla="*/ 496 w 52347"/>
                <a:gd name="connsiteY1" fmla="*/ 3025 h 29580"/>
                <a:gd name="connsiteX2" fmla="*/ 496 w 52347"/>
                <a:gd name="connsiteY2" fmla="*/ 3025 h 29580"/>
                <a:gd name="connsiteX3" fmla="*/ 3026 w 52347"/>
                <a:gd name="connsiteY3" fmla="*/ 9348 h 29580"/>
                <a:gd name="connsiteX4" fmla="*/ 3026 w 52347"/>
                <a:gd name="connsiteY4" fmla="*/ 9348 h 29580"/>
                <a:gd name="connsiteX5" fmla="*/ 52347 w 52347"/>
                <a:gd name="connsiteY5" fmla="*/ 29581 h 29580"/>
                <a:gd name="connsiteX6" fmla="*/ 52347 w 52347"/>
                <a:gd name="connsiteY6" fmla="*/ 19464 h 29580"/>
                <a:gd name="connsiteX7" fmla="*/ 9349 w 52347"/>
                <a:gd name="connsiteY7" fmla="*/ 1761 h 29580"/>
                <a:gd name="connsiteX8" fmla="*/ 6819 w 52347"/>
                <a:gd name="connsiteY8" fmla="*/ 496 h 29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347" h="29580">
                  <a:moveTo>
                    <a:pt x="6819" y="496"/>
                  </a:moveTo>
                  <a:cubicBezTo>
                    <a:pt x="4290" y="-769"/>
                    <a:pt x="1761" y="496"/>
                    <a:pt x="496" y="3025"/>
                  </a:cubicBezTo>
                  <a:cubicBezTo>
                    <a:pt x="496" y="3025"/>
                    <a:pt x="496" y="3025"/>
                    <a:pt x="496" y="3025"/>
                  </a:cubicBezTo>
                  <a:cubicBezTo>
                    <a:pt x="-769" y="5554"/>
                    <a:pt x="496" y="8084"/>
                    <a:pt x="3026" y="9348"/>
                  </a:cubicBezTo>
                  <a:cubicBezTo>
                    <a:pt x="3026" y="9348"/>
                    <a:pt x="3026" y="9348"/>
                    <a:pt x="3026" y="9348"/>
                  </a:cubicBezTo>
                  <a:lnTo>
                    <a:pt x="52347" y="29581"/>
                  </a:lnTo>
                  <a:lnTo>
                    <a:pt x="52347" y="19464"/>
                  </a:lnTo>
                  <a:lnTo>
                    <a:pt x="9349" y="1761"/>
                  </a:lnTo>
                  <a:lnTo>
                    <a:pt x="6819" y="496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9" name="Freeform: Shape 278">
              <a:extLst>
                <a:ext uri="{FF2B5EF4-FFF2-40B4-BE49-F238E27FC236}">
                  <a16:creationId xmlns:a16="http://schemas.microsoft.com/office/drawing/2014/main" id="{39AFCBBF-F344-4A9D-B621-581C8EBF3296}"/>
                </a:ext>
              </a:extLst>
            </p:cNvPr>
            <p:cNvSpPr/>
            <p:nvPr/>
          </p:nvSpPr>
          <p:spPr>
            <a:xfrm>
              <a:off x="11604287" y="4875647"/>
              <a:ext cx="15175" cy="46788"/>
            </a:xfrm>
            <a:custGeom>
              <a:avLst/>
              <a:gdLst>
                <a:gd name="connsiteX0" fmla="*/ 5059 w 15175"/>
                <a:gd name="connsiteY0" fmla="*/ 5058 h 46788"/>
                <a:gd name="connsiteX1" fmla="*/ 0 w 15175"/>
                <a:gd name="connsiteY1" fmla="*/ 1265 h 46788"/>
                <a:gd name="connsiteX2" fmla="*/ 1265 w 15175"/>
                <a:gd name="connsiteY2" fmla="*/ 7587 h 46788"/>
                <a:gd name="connsiteX3" fmla="*/ 6323 w 15175"/>
                <a:gd name="connsiteY3" fmla="*/ 39201 h 46788"/>
                <a:gd name="connsiteX4" fmla="*/ 6323 w 15175"/>
                <a:gd name="connsiteY4" fmla="*/ 42995 h 46788"/>
                <a:gd name="connsiteX5" fmla="*/ 6323 w 15175"/>
                <a:gd name="connsiteY5" fmla="*/ 42995 h 46788"/>
                <a:gd name="connsiteX6" fmla="*/ 11382 w 15175"/>
                <a:gd name="connsiteY6" fmla="*/ 46788 h 46788"/>
                <a:gd name="connsiteX7" fmla="*/ 11382 w 15175"/>
                <a:gd name="connsiteY7" fmla="*/ 46788 h 46788"/>
                <a:gd name="connsiteX8" fmla="*/ 15176 w 15175"/>
                <a:gd name="connsiteY8" fmla="*/ 41730 h 46788"/>
                <a:gd name="connsiteX9" fmla="*/ 15176 w 15175"/>
                <a:gd name="connsiteY9" fmla="*/ 41730 h 46788"/>
                <a:gd name="connsiteX10" fmla="*/ 8853 w 15175"/>
                <a:gd name="connsiteY10" fmla="*/ 0 h 46788"/>
                <a:gd name="connsiteX11" fmla="*/ 5059 w 15175"/>
                <a:gd name="connsiteY11" fmla="*/ 5058 h 4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175" h="46788">
                  <a:moveTo>
                    <a:pt x="5059" y="5058"/>
                  </a:moveTo>
                  <a:cubicBezTo>
                    <a:pt x="2529" y="5058"/>
                    <a:pt x="0" y="3794"/>
                    <a:pt x="0" y="1265"/>
                  </a:cubicBezTo>
                  <a:lnTo>
                    <a:pt x="1265" y="7587"/>
                  </a:lnTo>
                  <a:lnTo>
                    <a:pt x="6323" y="39201"/>
                  </a:lnTo>
                  <a:lnTo>
                    <a:pt x="6323" y="42995"/>
                  </a:lnTo>
                  <a:lnTo>
                    <a:pt x="6323" y="42995"/>
                  </a:lnTo>
                  <a:cubicBezTo>
                    <a:pt x="6323" y="45524"/>
                    <a:pt x="8853" y="46788"/>
                    <a:pt x="11382" y="46788"/>
                  </a:cubicBezTo>
                  <a:cubicBezTo>
                    <a:pt x="11382" y="46788"/>
                    <a:pt x="11382" y="46788"/>
                    <a:pt x="11382" y="46788"/>
                  </a:cubicBezTo>
                  <a:cubicBezTo>
                    <a:pt x="13911" y="46788"/>
                    <a:pt x="15176" y="44259"/>
                    <a:pt x="15176" y="41730"/>
                  </a:cubicBezTo>
                  <a:lnTo>
                    <a:pt x="15176" y="41730"/>
                  </a:lnTo>
                  <a:lnTo>
                    <a:pt x="8853" y="0"/>
                  </a:lnTo>
                  <a:cubicBezTo>
                    <a:pt x="8853" y="2529"/>
                    <a:pt x="7588" y="5058"/>
                    <a:pt x="5059" y="5058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0" name="Freeform: Shape 279">
              <a:extLst>
                <a:ext uri="{FF2B5EF4-FFF2-40B4-BE49-F238E27FC236}">
                  <a16:creationId xmlns:a16="http://schemas.microsoft.com/office/drawing/2014/main" id="{A5AE11CC-BDE9-444F-8D77-F58A60EB0666}"/>
                </a:ext>
              </a:extLst>
            </p:cNvPr>
            <p:cNvSpPr/>
            <p:nvPr/>
          </p:nvSpPr>
          <p:spPr>
            <a:xfrm>
              <a:off x="11554965" y="4549391"/>
              <a:ext cx="56909" cy="332578"/>
            </a:xfrm>
            <a:custGeom>
              <a:avLst/>
              <a:gdLst>
                <a:gd name="connsiteX0" fmla="*/ 5059 w 56909"/>
                <a:gd name="connsiteY0" fmla="*/ 5059 h 332578"/>
                <a:gd name="connsiteX1" fmla="*/ 0 w 56909"/>
                <a:gd name="connsiteY1" fmla="*/ 1265 h 332578"/>
                <a:gd name="connsiteX2" fmla="*/ 0 w 56909"/>
                <a:gd name="connsiteY2" fmla="*/ 3794 h 332578"/>
                <a:gd name="connsiteX3" fmla="*/ 48057 w 56909"/>
                <a:gd name="connsiteY3" fmla="*/ 324991 h 332578"/>
                <a:gd name="connsiteX4" fmla="*/ 48057 w 56909"/>
                <a:gd name="connsiteY4" fmla="*/ 328785 h 332578"/>
                <a:gd name="connsiteX5" fmla="*/ 53116 w 56909"/>
                <a:gd name="connsiteY5" fmla="*/ 332578 h 332578"/>
                <a:gd name="connsiteX6" fmla="*/ 56910 w 56909"/>
                <a:gd name="connsiteY6" fmla="*/ 327520 h 332578"/>
                <a:gd name="connsiteX7" fmla="*/ 56910 w 56909"/>
                <a:gd name="connsiteY7" fmla="*/ 327520 h 332578"/>
                <a:gd name="connsiteX8" fmla="*/ 7588 w 56909"/>
                <a:gd name="connsiteY8" fmla="*/ 0 h 332578"/>
                <a:gd name="connsiteX9" fmla="*/ 5059 w 56909"/>
                <a:gd name="connsiteY9" fmla="*/ 5059 h 332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6909" h="332578">
                  <a:moveTo>
                    <a:pt x="5059" y="5059"/>
                  </a:moveTo>
                  <a:cubicBezTo>
                    <a:pt x="2529" y="5059"/>
                    <a:pt x="0" y="3794"/>
                    <a:pt x="0" y="1265"/>
                  </a:cubicBezTo>
                  <a:lnTo>
                    <a:pt x="0" y="3794"/>
                  </a:lnTo>
                  <a:lnTo>
                    <a:pt x="48057" y="324991"/>
                  </a:lnTo>
                  <a:lnTo>
                    <a:pt x="48057" y="328785"/>
                  </a:lnTo>
                  <a:cubicBezTo>
                    <a:pt x="48057" y="331314"/>
                    <a:pt x="50586" y="332578"/>
                    <a:pt x="53116" y="332578"/>
                  </a:cubicBezTo>
                  <a:cubicBezTo>
                    <a:pt x="55645" y="332578"/>
                    <a:pt x="56910" y="330049"/>
                    <a:pt x="56910" y="327520"/>
                  </a:cubicBezTo>
                  <a:cubicBezTo>
                    <a:pt x="56910" y="327520"/>
                    <a:pt x="56910" y="327520"/>
                    <a:pt x="56910" y="327520"/>
                  </a:cubicBezTo>
                  <a:lnTo>
                    <a:pt x="7588" y="0"/>
                  </a:lnTo>
                  <a:cubicBezTo>
                    <a:pt x="8853" y="1265"/>
                    <a:pt x="7588" y="3794"/>
                    <a:pt x="5059" y="5059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1" name="Freeform: Shape 280">
              <a:extLst>
                <a:ext uri="{FF2B5EF4-FFF2-40B4-BE49-F238E27FC236}">
                  <a16:creationId xmlns:a16="http://schemas.microsoft.com/office/drawing/2014/main" id="{C50E220C-A00B-48A9-8179-6BED3B9451A1}"/>
                </a:ext>
              </a:extLst>
            </p:cNvPr>
            <p:cNvSpPr/>
            <p:nvPr/>
          </p:nvSpPr>
          <p:spPr>
            <a:xfrm>
              <a:off x="11492997" y="4137146"/>
              <a:ext cx="71157" cy="416375"/>
            </a:xfrm>
            <a:custGeom>
              <a:avLst/>
              <a:gdLst>
                <a:gd name="connsiteX0" fmla="*/ 60704 w 71157"/>
                <a:gd name="connsiteY0" fmla="*/ 403393 h 416375"/>
                <a:gd name="connsiteX1" fmla="*/ 61968 w 71157"/>
                <a:gd name="connsiteY1" fmla="*/ 412245 h 416375"/>
                <a:gd name="connsiteX2" fmla="*/ 67027 w 71157"/>
                <a:gd name="connsiteY2" fmla="*/ 416039 h 416375"/>
                <a:gd name="connsiteX3" fmla="*/ 70821 w 71157"/>
                <a:gd name="connsiteY3" fmla="*/ 410981 h 416375"/>
                <a:gd name="connsiteX4" fmla="*/ 70821 w 71157"/>
                <a:gd name="connsiteY4" fmla="*/ 409716 h 416375"/>
                <a:gd name="connsiteX5" fmla="*/ 8853 w 71157"/>
                <a:gd name="connsiteY5" fmla="*/ 0 h 416375"/>
                <a:gd name="connsiteX6" fmla="*/ 5059 w 71157"/>
                <a:gd name="connsiteY6" fmla="*/ 5058 h 416375"/>
                <a:gd name="connsiteX7" fmla="*/ 5059 w 71157"/>
                <a:gd name="connsiteY7" fmla="*/ 5058 h 416375"/>
                <a:gd name="connsiteX8" fmla="*/ 0 w 71157"/>
                <a:gd name="connsiteY8" fmla="*/ 1264 h 416375"/>
                <a:gd name="connsiteX9" fmla="*/ 1265 w 71157"/>
                <a:gd name="connsiteY9" fmla="*/ 7587 h 416375"/>
                <a:gd name="connsiteX10" fmla="*/ 60704 w 71157"/>
                <a:gd name="connsiteY10" fmla="*/ 403393 h 416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1157" h="416375">
                  <a:moveTo>
                    <a:pt x="60704" y="403393"/>
                  </a:moveTo>
                  <a:lnTo>
                    <a:pt x="61968" y="412245"/>
                  </a:lnTo>
                  <a:cubicBezTo>
                    <a:pt x="61968" y="414774"/>
                    <a:pt x="64498" y="417304"/>
                    <a:pt x="67027" y="416039"/>
                  </a:cubicBezTo>
                  <a:cubicBezTo>
                    <a:pt x="69556" y="416039"/>
                    <a:pt x="72086" y="413510"/>
                    <a:pt x="70821" y="410981"/>
                  </a:cubicBezTo>
                  <a:cubicBezTo>
                    <a:pt x="70821" y="410981"/>
                    <a:pt x="70821" y="410981"/>
                    <a:pt x="70821" y="409716"/>
                  </a:cubicBezTo>
                  <a:lnTo>
                    <a:pt x="8853" y="0"/>
                  </a:lnTo>
                  <a:cubicBezTo>
                    <a:pt x="8853" y="2529"/>
                    <a:pt x="7588" y="5058"/>
                    <a:pt x="5059" y="5058"/>
                  </a:cubicBezTo>
                  <a:cubicBezTo>
                    <a:pt x="5059" y="5058"/>
                    <a:pt x="5059" y="5058"/>
                    <a:pt x="5059" y="5058"/>
                  </a:cubicBezTo>
                  <a:cubicBezTo>
                    <a:pt x="2529" y="5058"/>
                    <a:pt x="0" y="3794"/>
                    <a:pt x="0" y="1264"/>
                  </a:cubicBezTo>
                  <a:lnTo>
                    <a:pt x="1265" y="7587"/>
                  </a:lnTo>
                  <a:lnTo>
                    <a:pt x="60704" y="403393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2" name="Freeform: Shape 281">
              <a:extLst>
                <a:ext uri="{FF2B5EF4-FFF2-40B4-BE49-F238E27FC236}">
                  <a16:creationId xmlns:a16="http://schemas.microsoft.com/office/drawing/2014/main" id="{9F6D69CC-580E-4205-937C-04000EA969B3}"/>
                </a:ext>
              </a:extLst>
            </p:cNvPr>
            <p:cNvSpPr/>
            <p:nvPr/>
          </p:nvSpPr>
          <p:spPr>
            <a:xfrm>
              <a:off x="11409529" y="3566832"/>
              <a:ext cx="93585" cy="576637"/>
            </a:xfrm>
            <a:custGeom>
              <a:avLst/>
              <a:gdLst>
                <a:gd name="connsiteX0" fmla="*/ 1265 w 93585"/>
                <a:gd name="connsiteY0" fmla="*/ 1265 h 576637"/>
                <a:gd name="connsiteX1" fmla="*/ 1265 w 93585"/>
                <a:gd name="connsiteY1" fmla="*/ 1265 h 576637"/>
                <a:gd name="connsiteX2" fmla="*/ 1265 w 93585"/>
                <a:gd name="connsiteY2" fmla="*/ 1265 h 576637"/>
                <a:gd name="connsiteX3" fmla="*/ 1265 w 93585"/>
                <a:gd name="connsiteY3" fmla="*/ 1265 h 576637"/>
                <a:gd name="connsiteX4" fmla="*/ 0 w 93585"/>
                <a:gd name="connsiteY4" fmla="*/ 2529 h 576637"/>
                <a:gd name="connsiteX5" fmla="*/ 0 w 93585"/>
                <a:gd name="connsiteY5" fmla="*/ 3794 h 576637"/>
                <a:gd name="connsiteX6" fmla="*/ 0 w 93585"/>
                <a:gd name="connsiteY6" fmla="*/ 3794 h 576637"/>
                <a:gd name="connsiteX7" fmla="*/ 0 w 93585"/>
                <a:gd name="connsiteY7" fmla="*/ 5058 h 576637"/>
                <a:gd name="connsiteX8" fmla="*/ 84732 w 93585"/>
                <a:gd name="connsiteY8" fmla="*/ 569050 h 576637"/>
                <a:gd name="connsiteX9" fmla="*/ 84732 w 93585"/>
                <a:gd name="connsiteY9" fmla="*/ 572844 h 576637"/>
                <a:gd name="connsiteX10" fmla="*/ 89791 w 93585"/>
                <a:gd name="connsiteY10" fmla="*/ 576638 h 576637"/>
                <a:gd name="connsiteX11" fmla="*/ 93585 w 93585"/>
                <a:gd name="connsiteY11" fmla="*/ 571579 h 576637"/>
                <a:gd name="connsiteX12" fmla="*/ 93585 w 93585"/>
                <a:gd name="connsiteY12" fmla="*/ 571579 h 576637"/>
                <a:gd name="connsiteX13" fmla="*/ 10117 w 93585"/>
                <a:gd name="connsiteY13" fmla="*/ 12646 h 576637"/>
                <a:gd name="connsiteX14" fmla="*/ 8853 w 93585"/>
                <a:gd name="connsiteY14" fmla="*/ 7587 h 576637"/>
                <a:gd name="connsiteX15" fmla="*/ 8853 w 93585"/>
                <a:gd name="connsiteY15" fmla="*/ 3794 h 576637"/>
                <a:gd name="connsiteX16" fmla="*/ 3794 w 93585"/>
                <a:gd name="connsiteY16" fmla="*/ 0 h 576637"/>
                <a:gd name="connsiteX17" fmla="*/ 2529 w 93585"/>
                <a:gd name="connsiteY17" fmla="*/ 0 h 576637"/>
                <a:gd name="connsiteX18" fmla="*/ 1265 w 93585"/>
                <a:gd name="connsiteY18" fmla="*/ 0 h 576637"/>
                <a:gd name="connsiteX19" fmla="*/ 1265 w 93585"/>
                <a:gd name="connsiteY19" fmla="*/ 1265 h 576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3585" h="576637">
                  <a:moveTo>
                    <a:pt x="1265" y="1265"/>
                  </a:moveTo>
                  <a:cubicBezTo>
                    <a:pt x="0" y="1265"/>
                    <a:pt x="0" y="1265"/>
                    <a:pt x="1265" y="1265"/>
                  </a:cubicBezTo>
                  <a:lnTo>
                    <a:pt x="1265" y="1265"/>
                  </a:lnTo>
                  <a:lnTo>
                    <a:pt x="1265" y="1265"/>
                  </a:lnTo>
                  <a:lnTo>
                    <a:pt x="0" y="2529"/>
                  </a:lnTo>
                  <a:cubicBezTo>
                    <a:pt x="0" y="2529"/>
                    <a:pt x="0" y="2529"/>
                    <a:pt x="0" y="3794"/>
                  </a:cubicBezTo>
                  <a:lnTo>
                    <a:pt x="0" y="3794"/>
                  </a:lnTo>
                  <a:lnTo>
                    <a:pt x="0" y="5058"/>
                  </a:lnTo>
                  <a:lnTo>
                    <a:pt x="84732" y="569050"/>
                  </a:lnTo>
                  <a:lnTo>
                    <a:pt x="84732" y="572844"/>
                  </a:lnTo>
                  <a:cubicBezTo>
                    <a:pt x="84732" y="575373"/>
                    <a:pt x="87262" y="576638"/>
                    <a:pt x="89791" y="576638"/>
                  </a:cubicBezTo>
                  <a:cubicBezTo>
                    <a:pt x="92320" y="576638"/>
                    <a:pt x="93585" y="574108"/>
                    <a:pt x="93585" y="571579"/>
                  </a:cubicBezTo>
                  <a:cubicBezTo>
                    <a:pt x="93585" y="571579"/>
                    <a:pt x="93585" y="571579"/>
                    <a:pt x="93585" y="571579"/>
                  </a:cubicBezTo>
                  <a:lnTo>
                    <a:pt x="10117" y="12646"/>
                  </a:lnTo>
                  <a:lnTo>
                    <a:pt x="8853" y="7587"/>
                  </a:lnTo>
                  <a:lnTo>
                    <a:pt x="8853" y="3794"/>
                  </a:lnTo>
                  <a:cubicBezTo>
                    <a:pt x="8853" y="1265"/>
                    <a:pt x="6323" y="0"/>
                    <a:pt x="3794" y="0"/>
                  </a:cubicBezTo>
                  <a:cubicBezTo>
                    <a:pt x="3794" y="0"/>
                    <a:pt x="2529" y="0"/>
                    <a:pt x="2529" y="0"/>
                  </a:cubicBezTo>
                  <a:lnTo>
                    <a:pt x="1265" y="0"/>
                  </a:lnTo>
                  <a:lnTo>
                    <a:pt x="1265" y="1265"/>
                  </a:ln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3" name="Freeform: Shape 282">
              <a:extLst>
                <a:ext uri="{FF2B5EF4-FFF2-40B4-BE49-F238E27FC236}">
                  <a16:creationId xmlns:a16="http://schemas.microsoft.com/office/drawing/2014/main" id="{783A8612-8257-41FE-B4C3-92B0B86AAC20}"/>
                </a:ext>
              </a:extLst>
            </p:cNvPr>
            <p:cNvSpPr/>
            <p:nvPr/>
          </p:nvSpPr>
          <p:spPr>
            <a:xfrm>
              <a:off x="9219135" y="2322508"/>
              <a:ext cx="396335" cy="153507"/>
            </a:xfrm>
            <a:custGeom>
              <a:avLst/>
              <a:gdLst>
                <a:gd name="connsiteX0" fmla="*/ 0 w 396335"/>
                <a:gd name="connsiteY0" fmla="*/ 150482 h 153507"/>
                <a:gd name="connsiteX1" fmla="*/ 6323 w 396335"/>
                <a:gd name="connsiteY1" fmla="*/ 153011 h 153507"/>
                <a:gd name="connsiteX2" fmla="*/ 6323 w 396335"/>
                <a:gd name="connsiteY2" fmla="*/ 153011 h 153507"/>
                <a:gd name="connsiteX3" fmla="*/ 10117 w 396335"/>
                <a:gd name="connsiteY3" fmla="*/ 151747 h 153507"/>
                <a:gd name="connsiteX4" fmla="*/ 16441 w 396335"/>
                <a:gd name="connsiteY4" fmla="*/ 149218 h 153507"/>
                <a:gd name="connsiteX5" fmla="*/ 392045 w 396335"/>
                <a:gd name="connsiteY5" fmla="*/ 10116 h 153507"/>
                <a:gd name="connsiteX6" fmla="*/ 393310 w 396335"/>
                <a:gd name="connsiteY6" fmla="*/ 8852 h 153507"/>
                <a:gd name="connsiteX7" fmla="*/ 395839 w 396335"/>
                <a:gd name="connsiteY7" fmla="*/ 2529 h 153507"/>
                <a:gd name="connsiteX8" fmla="*/ 392045 w 396335"/>
                <a:gd name="connsiteY8" fmla="*/ 0 h 153507"/>
                <a:gd name="connsiteX9" fmla="*/ 392045 w 396335"/>
                <a:gd name="connsiteY9" fmla="*/ 0 h 153507"/>
                <a:gd name="connsiteX10" fmla="*/ 390780 w 396335"/>
                <a:gd name="connsiteY10" fmla="*/ 0 h 153507"/>
                <a:gd name="connsiteX11" fmla="*/ 390780 w 396335"/>
                <a:gd name="connsiteY11" fmla="*/ 0 h 153507"/>
                <a:gd name="connsiteX12" fmla="*/ 2529 w 396335"/>
                <a:gd name="connsiteY12" fmla="*/ 142895 h 153507"/>
                <a:gd name="connsiteX13" fmla="*/ 2529 w 396335"/>
                <a:gd name="connsiteY13" fmla="*/ 142895 h 153507"/>
                <a:gd name="connsiteX14" fmla="*/ 2529 w 396335"/>
                <a:gd name="connsiteY14" fmla="*/ 142895 h 153507"/>
                <a:gd name="connsiteX15" fmla="*/ 1265 w 396335"/>
                <a:gd name="connsiteY15" fmla="*/ 142895 h 153507"/>
                <a:gd name="connsiteX16" fmla="*/ 1265 w 396335"/>
                <a:gd name="connsiteY16" fmla="*/ 142895 h 153507"/>
                <a:gd name="connsiteX17" fmla="*/ 1265 w 396335"/>
                <a:gd name="connsiteY17" fmla="*/ 142895 h 153507"/>
                <a:gd name="connsiteX18" fmla="*/ 1265 w 396335"/>
                <a:gd name="connsiteY18" fmla="*/ 144160 h 153507"/>
                <a:gd name="connsiteX19" fmla="*/ 1265 w 396335"/>
                <a:gd name="connsiteY19" fmla="*/ 144160 h 153507"/>
                <a:gd name="connsiteX20" fmla="*/ 1265 w 396335"/>
                <a:gd name="connsiteY20" fmla="*/ 144160 h 153507"/>
                <a:gd name="connsiteX21" fmla="*/ 1265 w 396335"/>
                <a:gd name="connsiteY21" fmla="*/ 145424 h 153507"/>
                <a:gd name="connsiteX22" fmla="*/ 1265 w 396335"/>
                <a:gd name="connsiteY22" fmla="*/ 145424 h 153507"/>
                <a:gd name="connsiteX23" fmla="*/ 1265 w 396335"/>
                <a:gd name="connsiteY23" fmla="*/ 145424 h 153507"/>
                <a:gd name="connsiteX24" fmla="*/ 0 w 396335"/>
                <a:gd name="connsiteY24" fmla="*/ 150482 h 153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96335" h="153507">
                  <a:moveTo>
                    <a:pt x="0" y="150482"/>
                  </a:moveTo>
                  <a:cubicBezTo>
                    <a:pt x="1265" y="153011"/>
                    <a:pt x="3794" y="154276"/>
                    <a:pt x="6323" y="153011"/>
                  </a:cubicBezTo>
                  <a:cubicBezTo>
                    <a:pt x="6323" y="153011"/>
                    <a:pt x="6323" y="153011"/>
                    <a:pt x="6323" y="153011"/>
                  </a:cubicBezTo>
                  <a:lnTo>
                    <a:pt x="10117" y="151747"/>
                  </a:lnTo>
                  <a:lnTo>
                    <a:pt x="16441" y="149218"/>
                  </a:lnTo>
                  <a:lnTo>
                    <a:pt x="392045" y="10116"/>
                  </a:lnTo>
                  <a:lnTo>
                    <a:pt x="393310" y="8852"/>
                  </a:lnTo>
                  <a:cubicBezTo>
                    <a:pt x="395839" y="7587"/>
                    <a:pt x="397104" y="5058"/>
                    <a:pt x="395839" y="2529"/>
                  </a:cubicBezTo>
                  <a:cubicBezTo>
                    <a:pt x="395839" y="1265"/>
                    <a:pt x="394574" y="0"/>
                    <a:pt x="392045" y="0"/>
                  </a:cubicBezTo>
                  <a:lnTo>
                    <a:pt x="392045" y="0"/>
                  </a:lnTo>
                  <a:lnTo>
                    <a:pt x="390780" y="0"/>
                  </a:lnTo>
                  <a:lnTo>
                    <a:pt x="390780" y="0"/>
                  </a:lnTo>
                  <a:lnTo>
                    <a:pt x="2529" y="142895"/>
                  </a:lnTo>
                  <a:lnTo>
                    <a:pt x="2529" y="142895"/>
                  </a:lnTo>
                  <a:lnTo>
                    <a:pt x="2529" y="142895"/>
                  </a:lnTo>
                  <a:lnTo>
                    <a:pt x="1265" y="142895"/>
                  </a:lnTo>
                  <a:lnTo>
                    <a:pt x="1265" y="142895"/>
                  </a:lnTo>
                  <a:lnTo>
                    <a:pt x="1265" y="142895"/>
                  </a:lnTo>
                  <a:lnTo>
                    <a:pt x="1265" y="144160"/>
                  </a:lnTo>
                  <a:lnTo>
                    <a:pt x="1265" y="144160"/>
                  </a:lnTo>
                  <a:lnTo>
                    <a:pt x="1265" y="144160"/>
                  </a:lnTo>
                  <a:cubicBezTo>
                    <a:pt x="1265" y="144160"/>
                    <a:pt x="1265" y="144160"/>
                    <a:pt x="1265" y="145424"/>
                  </a:cubicBezTo>
                  <a:cubicBezTo>
                    <a:pt x="1265" y="146689"/>
                    <a:pt x="1265" y="145424"/>
                    <a:pt x="1265" y="145424"/>
                  </a:cubicBezTo>
                  <a:lnTo>
                    <a:pt x="1265" y="145424"/>
                  </a:lnTo>
                  <a:cubicBezTo>
                    <a:pt x="0" y="146689"/>
                    <a:pt x="0" y="147953"/>
                    <a:pt x="0" y="150482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4" name="Freeform: Shape 283">
              <a:extLst>
                <a:ext uri="{FF2B5EF4-FFF2-40B4-BE49-F238E27FC236}">
                  <a16:creationId xmlns:a16="http://schemas.microsoft.com/office/drawing/2014/main" id="{B2C7BD53-ABF5-43C2-8B21-A0C70E3E67F4}"/>
                </a:ext>
              </a:extLst>
            </p:cNvPr>
            <p:cNvSpPr/>
            <p:nvPr/>
          </p:nvSpPr>
          <p:spPr>
            <a:xfrm>
              <a:off x="11672083" y="3083771"/>
              <a:ext cx="66258" cy="34639"/>
            </a:xfrm>
            <a:custGeom>
              <a:avLst/>
              <a:gdLst>
                <a:gd name="connsiteX0" fmla="*/ 66259 w 66258"/>
                <a:gd name="connsiteY0" fmla="*/ 2529 h 34639"/>
                <a:gd name="connsiteX1" fmla="*/ 63729 w 66258"/>
                <a:gd name="connsiteY1" fmla="*/ 0 h 34639"/>
                <a:gd name="connsiteX2" fmla="*/ 62465 w 66258"/>
                <a:gd name="connsiteY2" fmla="*/ 0 h 34639"/>
                <a:gd name="connsiteX3" fmla="*/ 61200 w 66258"/>
                <a:gd name="connsiteY3" fmla="*/ 0 h 34639"/>
                <a:gd name="connsiteX4" fmla="*/ 59935 w 66258"/>
                <a:gd name="connsiteY4" fmla="*/ 0 h 34639"/>
                <a:gd name="connsiteX5" fmla="*/ 59935 w 66258"/>
                <a:gd name="connsiteY5" fmla="*/ 0 h 34639"/>
                <a:gd name="connsiteX6" fmla="*/ 8084 w 66258"/>
                <a:gd name="connsiteY6" fmla="*/ 22762 h 34639"/>
                <a:gd name="connsiteX7" fmla="*/ 3025 w 66258"/>
                <a:gd name="connsiteY7" fmla="*/ 25291 h 34639"/>
                <a:gd name="connsiteX8" fmla="*/ 496 w 66258"/>
                <a:gd name="connsiteY8" fmla="*/ 31614 h 34639"/>
                <a:gd name="connsiteX9" fmla="*/ 6819 w 66258"/>
                <a:gd name="connsiteY9" fmla="*/ 34143 h 34639"/>
                <a:gd name="connsiteX10" fmla="*/ 62465 w 66258"/>
                <a:gd name="connsiteY10" fmla="*/ 8852 h 34639"/>
                <a:gd name="connsiteX11" fmla="*/ 63729 w 66258"/>
                <a:gd name="connsiteY11" fmla="*/ 7587 h 34639"/>
                <a:gd name="connsiteX12" fmla="*/ 66259 w 66258"/>
                <a:gd name="connsiteY12" fmla="*/ 2529 h 34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6258" h="34639">
                  <a:moveTo>
                    <a:pt x="66259" y="2529"/>
                  </a:moveTo>
                  <a:cubicBezTo>
                    <a:pt x="66259" y="1265"/>
                    <a:pt x="64994" y="0"/>
                    <a:pt x="63729" y="0"/>
                  </a:cubicBezTo>
                  <a:lnTo>
                    <a:pt x="62465" y="0"/>
                  </a:lnTo>
                  <a:lnTo>
                    <a:pt x="61200" y="0"/>
                  </a:lnTo>
                  <a:lnTo>
                    <a:pt x="59935" y="0"/>
                  </a:lnTo>
                  <a:lnTo>
                    <a:pt x="59935" y="0"/>
                  </a:lnTo>
                  <a:lnTo>
                    <a:pt x="8084" y="22762"/>
                  </a:lnTo>
                  <a:lnTo>
                    <a:pt x="3025" y="25291"/>
                  </a:lnTo>
                  <a:cubicBezTo>
                    <a:pt x="496" y="26556"/>
                    <a:pt x="-769" y="29085"/>
                    <a:pt x="496" y="31614"/>
                  </a:cubicBezTo>
                  <a:cubicBezTo>
                    <a:pt x="1761" y="34143"/>
                    <a:pt x="4290" y="35408"/>
                    <a:pt x="6819" y="34143"/>
                  </a:cubicBezTo>
                  <a:lnTo>
                    <a:pt x="62465" y="8852"/>
                  </a:lnTo>
                  <a:lnTo>
                    <a:pt x="63729" y="7587"/>
                  </a:lnTo>
                  <a:cubicBezTo>
                    <a:pt x="66259" y="7587"/>
                    <a:pt x="66259" y="5058"/>
                    <a:pt x="66259" y="2529"/>
                  </a:cubicBezTo>
                  <a:close/>
                </a:path>
              </a:pathLst>
            </a:custGeom>
            <a:solidFill>
              <a:srgbClr val="000000"/>
            </a:solidFill>
            <a:ln w="126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4AE12D1-08AF-45E9-A34A-BDE9E860BA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DAC16E-5725-4AC1-AB85-871F25D266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7/1/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10B5D8-71E9-48DC-A04C-559359603C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itch deck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FDD81F-9379-48E6-9B14-83486F920A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CEABB6-07DC-46E8-9B57-56EC44A396E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00EF78-D323-4EBB-BB07-D37B417DCB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1248" y="2101501"/>
            <a:ext cx="3657600" cy="1188720"/>
          </a:xfrm>
        </p:spPr>
        <p:txBody>
          <a:bodyPr>
            <a:norm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1400"/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25CBE32-2EC3-4DF9-98B3-59E7EEBEE7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1248" y="1692431"/>
            <a:ext cx="3657600" cy="365760"/>
          </a:xfrm>
        </p:spPr>
        <p:txBody>
          <a:bodyPr>
            <a:noAutofit/>
          </a:bodyPr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C8171A7-4A62-4082-BB37-F060B1FAE2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9264" y="3827739"/>
            <a:ext cx="3657600" cy="1188720"/>
          </a:xfrm>
        </p:spPr>
        <p:txBody>
          <a:bodyPr>
            <a:norm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1400"/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0D5E97E-C5D9-4025-B1B2-ADCE5B7643E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9264" y="3418669"/>
            <a:ext cx="3657600" cy="365760"/>
          </a:xfrm>
        </p:spPr>
        <p:txBody>
          <a:bodyPr>
            <a:noAutofit/>
          </a:bodyPr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CD05EF-84C2-444D-81A7-A4B7301F61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40020" y="2097489"/>
            <a:ext cx="3657600" cy="1188720"/>
          </a:xfrm>
        </p:spPr>
        <p:txBody>
          <a:bodyPr>
            <a:norm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1400"/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C26712AD-A0C3-4DCE-B24C-BF72F5E4C6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40020" y="1688419"/>
            <a:ext cx="3657600" cy="365760"/>
          </a:xfrm>
        </p:spPr>
        <p:txBody>
          <a:bodyPr>
            <a:noAutofit/>
          </a:bodyPr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759955F9-5A50-4ACB-AFC6-6B5497CEC87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48036" y="3823727"/>
            <a:ext cx="3657600" cy="1188720"/>
          </a:xfrm>
        </p:spPr>
        <p:txBody>
          <a:bodyPr>
            <a:norm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1400"/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6545C2F8-A3FD-49EE-AB32-908F2C67EF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48036" y="3414657"/>
            <a:ext cx="3657600" cy="365760"/>
          </a:xfrm>
        </p:spPr>
        <p:txBody>
          <a:bodyPr>
            <a:noAutofit/>
          </a:bodyPr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0107D759-1ED0-454A-9073-F9259B9DD4C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9312" y="5532210"/>
            <a:ext cx="3657600" cy="822960"/>
          </a:xfrm>
        </p:spPr>
        <p:txBody>
          <a:bodyPr>
            <a:norm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1400"/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8120F19B-6DB3-475E-9783-DE201F320A2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9312" y="5123140"/>
            <a:ext cx="3657600" cy="365760"/>
          </a:xfrm>
        </p:spPr>
        <p:txBody>
          <a:bodyPr>
            <a:noAutofit/>
          </a:bodyPr>
          <a:lstStyle>
            <a:lvl1pPr marL="0" indent="0">
              <a:lnSpc>
                <a:spcPts val="2600"/>
              </a:lnSpc>
              <a:buNone/>
              <a:defRPr sz="18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lnSpc>
                <a:spcPts val="2600"/>
              </a:lnSpc>
              <a:buNone/>
              <a:defRPr sz="1600"/>
            </a:lvl2pPr>
            <a:lvl3pPr marL="914400" indent="0">
              <a:lnSpc>
                <a:spcPts val="2600"/>
              </a:lnSpc>
              <a:buNone/>
              <a:defRPr sz="1600"/>
            </a:lvl3pPr>
            <a:lvl4pPr marL="1371600" indent="0">
              <a:lnSpc>
                <a:spcPts val="2600"/>
              </a:lnSpc>
              <a:buNone/>
              <a:defRPr sz="1600"/>
            </a:lvl4pPr>
            <a:lvl5pPr marL="1828800" indent="0">
              <a:lnSpc>
                <a:spcPts val="2600"/>
              </a:lnSpc>
              <a:buNone/>
              <a:defRPr sz="1600"/>
            </a:lvl5pPr>
          </a:lstStyle>
          <a:p>
            <a:pPr lvl="0"/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1698975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1052" y="958037"/>
            <a:ext cx="9605635" cy="105930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29166" y="2165621"/>
            <a:ext cx="4645152" cy="32938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5606" y="2171769"/>
            <a:ext cx="4645152" cy="32870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4.03.2025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he FORCE Integrated Reservoir Modelling Group presents Cake &amp; Discus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929422-49FF-454F-8FF9-B363F50C5138}" type="slidenum">
              <a:rPr lang="en-US" smtClean="0"/>
              <a:t>‹#›</a:t>
            </a:fld>
            <a:endParaRPr lang="en-US"/>
          </a:p>
        </p:txBody>
      </p:sp>
      <p:pic>
        <p:nvPicPr>
          <p:cNvPr id="16" name="Picture 15" descr="RedHashing.emf"/>
          <p:cNvPicPr>
            <a:picLocks/>
          </p:cNvPicPr>
          <p:nvPr/>
        </p:nvPicPr>
        <p:blipFill rotWithShape="1"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5" r="15828" b="36435"/>
          <a:stretch/>
        </p:blipFill>
        <p:spPr>
          <a:xfrm>
            <a:off x="1125460" y="643464"/>
            <a:ext cx="9610344" cy="15544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15DC8D74-753F-0E4A-C1B6-E9534380D0B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797989" y="-115544"/>
            <a:ext cx="1333500" cy="1333500"/>
            <a:chOff x="344845" y="1271954"/>
            <a:chExt cx="3730426" cy="3730426"/>
          </a:xfrm>
        </p:grpSpPr>
        <p:pic>
          <p:nvPicPr>
            <p:cNvPr id="9" name="Graphic 8" descr="Meeting outline">
              <a:extLst>
                <a:ext uri="{FF2B5EF4-FFF2-40B4-BE49-F238E27FC236}">
                  <a16:creationId xmlns:a16="http://schemas.microsoft.com/office/drawing/2014/main" id="{D440C828-3771-9472-2B5A-0CB92E031D3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44845" y="1271954"/>
              <a:ext cx="3730426" cy="3730426"/>
            </a:xfrm>
            <a:prstGeom prst="rect">
              <a:avLst/>
            </a:prstGeom>
          </p:spPr>
        </p:pic>
        <p:pic>
          <p:nvPicPr>
            <p:cNvPr id="10" name="Graphic 9" descr="Cupcake outline">
              <a:extLst>
                <a:ext uri="{FF2B5EF4-FFF2-40B4-BE49-F238E27FC236}">
                  <a16:creationId xmlns:a16="http://schemas.microsoft.com/office/drawing/2014/main" id="{074D04D9-EA76-2922-1940-A2C8C6B1E80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10058" y="3494698"/>
              <a:ext cx="774636" cy="774636"/>
            </a:xfrm>
            <a:prstGeom prst="rect">
              <a:avLst/>
            </a:prstGeom>
          </p:spPr>
        </p:pic>
        <p:pic>
          <p:nvPicPr>
            <p:cNvPr id="11" name="Content Placeholder 6" descr="Cake slice with solid fill">
              <a:extLst>
                <a:ext uri="{FF2B5EF4-FFF2-40B4-BE49-F238E27FC236}">
                  <a16:creationId xmlns:a16="http://schemas.microsoft.com/office/drawing/2014/main" id="{A9353000-F3B6-D370-C95B-7254D76F658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95658" y="3474164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898440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9166" y="953336"/>
            <a:ext cx="9607661" cy="10563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29166" y="2169727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0" cap="none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29166" y="2974448"/>
            <a:ext cx="4645152" cy="24938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94337" y="2173181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0" cap="none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94337" y="2971669"/>
            <a:ext cx="4645152" cy="24871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4.03.2025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he FORCE Integrated Reservoir Modelling Group presents Cake &amp; Discus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929422-49FF-454F-8FF9-B363F50C5138}" type="slidenum">
              <a:rPr lang="en-US" smtClean="0"/>
              <a:t>‹#›</a:t>
            </a:fld>
            <a:endParaRPr lang="en-US"/>
          </a:p>
        </p:txBody>
      </p:sp>
      <p:pic>
        <p:nvPicPr>
          <p:cNvPr id="18" name="Picture 17" descr="RedHashing.emf"/>
          <p:cNvPicPr>
            <a:picLocks/>
          </p:cNvPicPr>
          <p:nvPr/>
        </p:nvPicPr>
        <p:blipFill rotWithShape="1"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5" r="15828" b="36435"/>
          <a:stretch/>
        </p:blipFill>
        <p:spPr>
          <a:xfrm>
            <a:off x="1125460" y="643464"/>
            <a:ext cx="9610344" cy="15544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6FFF91BB-AD13-03DD-D446-F488C055034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797989" y="-115544"/>
            <a:ext cx="1333500" cy="1333500"/>
            <a:chOff x="344845" y="1271954"/>
            <a:chExt cx="3730426" cy="3730426"/>
          </a:xfrm>
        </p:grpSpPr>
        <p:pic>
          <p:nvPicPr>
            <p:cNvPr id="11" name="Graphic 10" descr="Meeting outline">
              <a:extLst>
                <a:ext uri="{FF2B5EF4-FFF2-40B4-BE49-F238E27FC236}">
                  <a16:creationId xmlns:a16="http://schemas.microsoft.com/office/drawing/2014/main" id="{0ED7F3D0-B512-E992-BCF5-C51FF7A9ED8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44845" y="1271954"/>
              <a:ext cx="3730426" cy="3730426"/>
            </a:xfrm>
            <a:prstGeom prst="rect">
              <a:avLst/>
            </a:prstGeom>
          </p:spPr>
        </p:pic>
        <p:pic>
          <p:nvPicPr>
            <p:cNvPr id="12" name="Graphic 11" descr="Cupcake outline">
              <a:extLst>
                <a:ext uri="{FF2B5EF4-FFF2-40B4-BE49-F238E27FC236}">
                  <a16:creationId xmlns:a16="http://schemas.microsoft.com/office/drawing/2014/main" id="{0CCDF13C-634E-80B7-2BFB-03DF9C149A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10058" y="3494698"/>
              <a:ext cx="774636" cy="774636"/>
            </a:xfrm>
            <a:prstGeom prst="rect">
              <a:avLst/>
            </a:prstGeom>
          </p:spPr>
        </p:pic>
        <p:pic>
          <p:nvPicPr>
            <p:cNvPr id="13" name="Content Placeholder 6" descr="Cake slice with solid fill">
              <a:extLst>
                <a:ext uri="{FF2B5EF4-FFF2-40B4-BE49-F238E27FC236}">
                  <a16:creationId xmlns:a16="http://schemas.microsoft.com/office/drawing/2014/main" id="{04EAC29F-9D37-7438-0F1F-8D157C0843A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95658" y="3474164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754905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4.03.2025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he FORCE Integrated Reservoir Modelling Group presents Cake &amp; Discus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929422-49FF-454F-8FF9-B363F50C5138}" type="slidenum">
              <a:rPr lang="en-US" smtClean="0"/>
              <a:t>‹#›</a:t>
            </a:fld>
            <a:endParaRPr lang="en-US"/>
          </a:p>
        </p:txBody>
      </p:sp>
      <p:pic>
        <p:nvPicPr>
          <p:cNvPr id="14" name="Picture 13" descr="RedHashing.emf"/>
          <p:cNvPicPr>
            <a:picLocks/>
          </p:cNvPicPr>
          <p:nvPr/>
        </p:nvPicPr>
        <p:blipFill rotWithShape="1"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5" r="15828" b="36435"/>
          <a:stretch/>
        </p:blipFill>
        <p:spPr>
          <a:xfrm>
            <a:off x="1125460" y="643464"/>
            <a:ext cx="9610344" cy="15544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E5E67D72-1C4D-BF01-D487-991B4E9EDD4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797989" y="-115544"/>
            <a:ext cx="1333500" cy="1333500"/>
            <a:chOff x="344845" y="1271954"/>
            <a:chExt cx="3730426" cy="3730426"/>
          </a:xfrm>
        </p:grpSpPr>
        <p:pic>
          <p:nvPicPr>
            <p:cNvPr id="7" name="Graphic 6" descr="Meeting outline">
              <a:extLst>
                <a:ext uri="{FF2B5EF4-FFF2-40B4-BE49-F238E27FC236}">
                  <a16:creationId xmlns:a16="http://schemas.microsoft.com/office/drawing/2014/main" id="{3949798F-0B12-D737-0B91-33B0984159E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44845" y="1271954"/>
              <a:ext cx="3730426" cy="3730426"/>
            </a:xfrm>
            <a:prstGeom prst="rect">
              <a:avLst/>
            </a:prstGeom>
          </p:spPr>
        </p:pic>
        <p:pic>
          <p:nvPicPr>
            <p:cNvPr id="8" name="Graphic 7" descr="Cupcake outline">
              <a:extLst>
                <a:ext uri="{FF2B5EF4-FFF2-40B4-BE49-F238E27FC236}">
                  <a16:creationId xmlns:a16="http://schemas.microsoft.com/office/drawing/2014/main" id="{B2868AC0-D628-5611-A0EC-7DECCF32939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10058" y="3494698"/>
              <a:ext cx="774636" cy="774636"/>
            </a:xfrm>
            <a:prstGeom prst="rect">
              <a:avLst/>
            </a:prstGeom>
          </p:spPr>
        </p:pic>
        <p:pic>
          <p:nvPicPr>
            <p:cNvPr id="9" name="Content Placeholder 6" descr="Cake slice with solid fill">
              <a:extLst>
                <a:ext uri="{FF2B5EF4-FFF2-40B4-BE49-F238E27FC236}">
                  <a16:creationId xmlns:a16="http://schemas.microsoft.com/office/drawing/2014/main" id="{417B5B2C-D928-2A8E-10BA-84E48D2E209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95658" y="3474164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179984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4.03.2025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he FORCE Integrated Reservoir Modelling Group presents Cake &amp; Discu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929422-49FF-454F-8FF9-B363F50C5138}" type="slidenum">
              <a:rPr lang="en-US" smtClean="0"/>
              <a:t>‹#›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6D7D7A9-3601-0EED-AC51-0FE656099FE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797989" y="-115544"/>
            <a:ext cx="1333500" cy="1333500"/>
            <a:chOff x="344845" y="1271954"/>
            <a:chExt cx="3730426" cy="3730426"/>
          </a:xfrm>
        </p:grpSpPr>
        <p:pic>
          <p:nvPicPr>
            <p:cNvPr id="6" name="Graphic 5" descr="Meeting outline">
              <a:extLst>
                <a:ext uri="{FF2B5EF4-FFF2-40B4-BE49-F238E27FC236}">
                  <a16:creationId xmlns:a16="http://schemas.microsoft.com/office/drawing/2014/main" id="{4D56D97B-BEE1-1896-367A-18724BF4132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44845" y="1271954"/>
              <a:ext cx="3730426" cy="3730426"/>
            </a:xfrm>
            <a:prstGeom prst="rect">
              <a:avLst/>
            </a:prstGeom>
          </p:spPr>
        </p:pic>
        <p:pic>
          <p:nvPicPr>
            <p:cNvPr id="7" name="Graphic 6" descr="Cupcake outline">
              <a:extLst>
                <a:ext uri="{FF2B5EF4-FFF2-40B4-BE49-F238E27FC236}">
                  <a16:creationId xmlns:a16="http://schemas.microsoft.com/office/drawing/2014/main" id="{5EB848E9-9888-5120-BF09-6889BA956E5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210058" y="3494698"/>
              <a:ext cx="774636" cy="774636"/>
            </a:xfrm>
            <a:prstGeom prst="rect">
              <a:avLst/>
            </a:prstGeom>
          </p:spPr>
        </p:pic>
        <p:pic>
          <p:nvPicPr>
            <p:cNvPr id="8" name="Content Placeholder 6" descr="Cake slice with solid fill">
              <a:extLst>
                <a:ext uri="{FF2B5EF4-FFF2-40B4-BE49-F238E27FC236}">
                  <a16:creationId xmlns:a16="http://schemas.microsoft.com/office/drawing/2014/main" id="{F94C03BD-E872-411D-6CA2-EE023D0ACA6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295658" y="3474164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932599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4291" y="952578"/>
            <a:ext cx="3275013" cy="2322176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23334" y="952578"/>
            <a:ext cx="6012470" cy="450522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24291" y="3274754"/>
            <a:ext cx="3275013" cy="2178918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4.03.2025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 FORCE Integrated Reservoir Modelling Group presents Cake &amp; Discus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929422-49FF-454F-8FF9-B363F50C5138}" type="slidenum">
              <a:rPr lang="en-US" smtClean="0"/>
              <a:t>‹#›</a:t>
            </a:fld>
            <a:endParaRPr lang="en-US"/>
          </a:p>
        </p:txBody>
      </p:sp>
      <p:pic>
        <p:nvPicPr>
          <p:cNvPr id="16" name="Picture 15" descr="RedHashing.emf"/>
          <p:cNvPicPr>
            <a:picLocks/>
          </p:cNvPicPr>
          <p:nvPr/>
        </p:nvPicPr>
        <p:blipFill rotWithShape="1"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5" r="15828" b="36435"/>
          <a:stretch/>
        </p:blipFill>
        <p:spPr>
          <a:xfrm>
            <a:off x="1125460" y="643464"/>
            <a:ext cx="9610344" cy="15544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E04AF4A8-CCBF-4317-1CE6-AAA90013D26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797989" y="-115544"/>
            <a:ext cx="1333500" cy="1333500"/>
            <a:chOff x="344845" y="1271954"/>
            <a:chExt cx="3730426" cy="3730426"/>
          </a:xfrm>
        </p:grpSpPr>
        <p:pic>
          <p:nvPicPr>
            <p:cNvPr id="9" name="Graphic 8" descr="Meeting outline">
              <a:extLst>
                <a:ext uri="{FF2B5EF4-FFF2-40B4-BE49-F238E27FC236}">
                  <a16:creationId xmlns:a16="http://schemas.microsoft.com/office/drawing/2014/main" id="{EDA0A5A2-5BBB-D4E9-6E47-2AD70C4BAA0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44845" y="1271954"/>
              <a:ext cx="3730426" cy="3730426"/>
            </a:xfrm>
            <a:prstGeom prst="rect">
              <a:avLst/>
            </a:prstGeom>
          </p:spPr>
        </p:pic>
        <p:pic>
          <p:nvPicPr>
            <p:cNvPr id="10" name="Graphic 9" descr="Cupcake outline">
              <a:extLst>
                <a:ext uri="{FF2B5EF4-FFF2-40B4-BE49-F238E27FC236}">
                  <a16:creationId xmlns:a16="http://schemas.microsoft.com/office/drawing/2014/main" id="{F0E92A85-9AFD-2744-DE00-5365EC86571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10058" y="3494698"/>
              <a:ext cx="774636" cy="774636"/>
            </a:xfrm>
            <a:prstGeom prst="rect">
              <a:avLst/>
            </a:prstGeom>
          </p:spPr>
        </p:pic>
        <p:pic>
          <p:nvPicPr>
            <p:cNvPr id="11" name="Content Placeholder 6" descr="Cake slice with solid fill">
              <a:extLst>
                <a:ext uri="{FF2B5EF4-FFF2-40B4-BE49-F238E27FC236}">
                  <a16:creationId xmlns:a16="http://schemas.microsoft.com/office/drawing/2014/main" id="{54EBF0A8-C06B-0097-0EB0-04F073E6AF0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95658" y="3474164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5332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chemeClr val="tx1">
                    <a:lumMod val="85000"/>
                    <a:lumOff val="15000"/>
                  </a:schemeClr>
                </a:gs>
                <a:gs pos="100000">
                  <a:schemeClr val="tx1">
                    <a:lumMod val="95000"/>
                    <a:lumOff val="5000"/>
                  </a:schemeClr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14300" prst="artDeco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9124" y="1129513"/>
            <a:ext cx="5854872" cy="1924208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28247" y="3053721"/>
            <a:ext cx="5846486" cy="2096013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125300" y="5469856"/>
            <a:ext cx="5849605" cy="320123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24.03.2025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125300" y="318640"/>
            <a:ext cx="4877818" cy="320931"/>
          </a:xfrm>
        </p:spPr>
        <p:txBody>
          <a:bodyPr/>
          <a:lstStyle/>
          <a:p>
            <a:r>
              <a:rPr lang="en-US"/>
              <a:t>The FORCE Integrated Reservoir Modelling Group presents Cake &amp; Discus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176794" y="137408"/>
            <a:ext cx="811019" cy="503578"/>
          </a:xfrm>
        </p:spPr>
        <p:txBody>
          <a:bodyPr/>
          <a:lstStyle/>
          <a:p>
            <a:fld id="{D2929422-49FF-454F-8FF9-B363F50C5138}" type="slidenum">
              <a:rPr lang="en-US" smtClean="0"/>
              <a:t>‹#›</a:t>
            </a:fld>
            <a:endParaRPr lang="en-US"/>
          </a:p>
        </p:txBody>
      </p:sp>
      <p:pic>
        <p:nvPicPr>
          <p:cNvPr id="22" name="Picture 21" descr="RedHashing.emf"/>
          <p:cNvPicPr>
            <a:picLocks/>
          </p:cNvPicPr>
          <p:nvPr/>
        </p:nvPicPr>
        <p:blipFill rotWithShape="1"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6" t="474" r="48549" b="36564"/>
          <a:stretch/>
        </p:blipFill>
        <p:spPr>
          <a:xfrm>
            <a:off x="1125460" y="643464"/>
            <a:ext cx="5879592" cy="15544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C570CF52-DA36-D19A-2649-89D329E7DE3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797989" y="-115544"/>
            <a:ext cx="1333500" cy="1333500"/>
            <a:chOff x="344845" y="1271954"/>
            <a:chExt cx="3730426" cy="3730426"/>
          </a:xfrm>
        </p:grpSpPr>
        <p:pic>
          <p:nvPicPr>
            <p:cNvPr id="10" name="Graphic 9" descr="Meeting outline">
              <a:extLst>
                <a:ext uri="{FF2B5EF4-FFF2-40B4-BE49-F238E27FC236}">
                  <a16:creationId xmlns:a16="http://schemas.microsoft.com/office/drawing/2014/main" id="{43A2A492-AACA-54A3-5126-540C20ADA1A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44845" y="1271954"/>
              <a:ext cx="3730426" cy="3730426"/>
            </a:xfrm>
            <a:prstGeom prst="rect">
              <a:avLst/>
            </a:prstGeom>
          </p:spPr>
        </p:pic>
        <p:pic>
          <p:nvPicPr>
            <p:cNvPr id="11" name="Graphic 10" descr="Cupcake outline">
              <a:extLst>
                <a:ext uri="{FF2B5EF4-FFF2-40B4-BE49-F238E27FC236}">
                  <a16:creationId xmlns:a16="http://schemas.microsoft.com/office/drawing/2014/main" id="{A1E3571D-F57A-C423-5249-7A1941C6B43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10058" y="3494698"/>
              <a:ext cx="774636" cy="774636"/>
            </a:xfrm>
            <a:prstGeom prst="rect">
              <a:avLst/>
            </a:prstGeom>
          </p:spPr>
        </p:pic>
        <p:pic>
          <p:nvPicPr>
            <p:cNvPr id="12" name="Content Placeholder 6" descr="Cake slice with solid fill">
              <a:extLst>
                <a:ext uri="{FF2B5EF4-FFF2-40B4-BE49-F238E27FC236}">
                  <a16:creationId xmlns:a16="http://schemas.microsoft.com/office/drawing/2014/main" id="{B02EB3C5-2DAC-E9EB-FEB6-7FF3FFBAB52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95658" y="3474164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865366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image" Target="../media/image10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562"/>
          <a:stretch/>
        </p:blipFill>
        <p:spPr>
          <a:xfrm>
            <a:off x="0" y="6119336"/>
            <a:ext cx="12192000" cy="74295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0" y="468769"/>
            <a:ext cx="12192000" cy="5647024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  <a:lumMod val="100000"/>
                </a:schemeClr>
              </a:gs>
              <a:gs pos="100000">
                <a:schemeClr val="bg2">
                  <a:lumMod val="95000"/>
                  <a:lumOff val="5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14" name="Straight Connector 13"/>
          <p:cNvCxnSpPr/>
          <p:nvPr/>
        </p:nvCxnSpPr>
        <p:spPr>
          <a:xfrm>
            <a:off x="0" y="6121269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30270" y="953324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0270" y="2171769"/>
            <a:ext cx="9603275" cy="32945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32830" y="330370"/>
            <a:ext cx="251539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24.03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30270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The FORCE Integrated Reservoir Modelling Group presents Cake &amp; Discus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18076" y="137408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D2929422-49FF-454F-8FF9-B363F50C51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361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49" r:id="rId6"/>
    <p:sldLayoutId id="2147483850" r:id="rId7"/>
    <p:sldLayoutId id="2147483851" r:id="rId8"/>
    <p:sldLayoutId id="2147483852" r:id="rId9"/>
    <p:sldLayoutId id="2147483853" r:id="rId10"/>
    <p:sldLayoutId id="2147483854" r:id="rId11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none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A12C573-B238-5B1A-F429-059E8A4129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052470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10" imgH="416" progId="TCLayout.ActiveDocument.1">
                  <p:embed/>
                </p:oleObj>
              </mc:Choice>
              <mc:Fallback>
                <p:oleObj name="think-cell Slide" r:id="rId26" imgW="410" imgH="41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12C573-B238-5B1A-F429-059E8A4129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5175" y="1665289"/>
            <a:ext cx="10914062" cy="46941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12800"/>
            <a:ext cx="11171238" cy="808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Rectangle 3" descr="&lt;Shell Yellow Bar&gt;" title="&lt;Shell Yellow Bar&gt;"/>
          <p:cNvSpPr/>
          <p:nvPr userDrawn="1"/>
        </p:nvSpPr>
        <p:spPr bwMode="gray">
          <a:xfrm>
            <a:off x="-6201" y="508000"/>
            <a:ext cx="1269984" cy="38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77056" y="6469199"/>
            <a:ext cx="4435312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noProof="1"/>
              <a:t>A/S Norske Shell E&amp;P</a:t>
            </a:r>
          </a:p>
        </p:txBody>
      </p:sp>
      <p:sp>
        <p:nvSpPr>
          <p:cNvPr id="83" name="Rectangle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670343" y="6469200"/>
            <a:ext cx="1440000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marL="0" algn="ctr" defTabSz="1219170" rtl="0" eaLnBrk="1" latinLnBrk="0" hangingPunct="1">
              <a:defRPr lang="en-US" sz="8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059AB86C-830A-47AD-819A-07FCF487D0CA}" type="datetime3">
              <a:rPr lang="en-US" noProof="1" smtClean="0"/>
              <a:t>31 March 2025</a:t>
            </a:fld>
            <a:endParaRPr lang="en-GB" noProof="1"/>
          </a:p>
        </p:txBody>
      </p:sp>
      <p:sp>
        <p:nvSpPr>
          <p:cNvPr id="85" name="Rectangle 6" descr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4177" y="6469199"/>
            <a:ext cx="355564" cy="23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32BAE6A-B452-4007-8177-56DD051636F9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84" name="Text Box 11" descr="&lt;COMPANY_NAME&gt;&#10;"/>
          <p:cNvSpPr txBox="1">
            <a:spLocks noChangeArrowheads="1"/>
          </p:cNvSpPr>
          <p:nvPr userDrawn="1"/>
        </p:nvSpPr>
        <p:spPr bwMode="auto">
          <a:xfrm>
            <a:off x="512259" y="6469199"/>
            <a:ext cx="3360000" cy="237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anchor="t" anchorCtr="0">
            <a:noAutofit/>
          </a:bodyPr>
          <a:lstStyle/>
          <a:p>
            <a:pPr>
              <a:defRPr/>
            </a:pPr>
            <a:r>
              <a:rPr lang="en-US" sz="850" noProof="1">
                <a:solidFill>
                  <a:schemeClr val="tx1"/>
                </a:solidFill>
                <a:latin typeface="+mn-lt"/>
                <a:cs typeface="Arial" pitchFamily="34" charset="0"/>
              </a:rPr>
              <a:t>Copyright of Shell International B.V.</a:t>
            </a:r>
            <a:endParaRPr lang="en-GB" sz="85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95" name="Rectangle 94" descr="&lt;Shell Yellow Bar&gt;" title="&lt;Shell Yellow Bar&gt;"/>
          <p:cNvSpPr/>
          <p:nvPr userDrawn="1"/>
        </p:nvSpPr>
        <p:spPr bwMode="gray">
          <a:xfrm>
            <a:off x="-3222" y="6820523"/>
            <a:ext cx="12193200" cy="38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605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  <p:sldLayoutId id="2147483863" r:id="rId8"/>
    <p:sldLayoutId id="2147483864" r:id="rId9"/>
    <p:sldLayoutId id="2147483865" r:id="rId10"/>
    <p:sldLayoutId id="2147483866" r:id="rId11"/>
    <p:sldLayoutId id="2147483867" r:id="rId12"/>
    <p:sldLayoutId id="2147483868" r:id="rId13"/>
    <p:sldLayoutId id="2147483869" r:id="rId14"/>
    <p:sldLayoutId id="2147483870" r:id="rId15"/>
    <p:sldLayoutId id="2147483871" r:id="rId16"/>
    <p:sldLayoutId id="2147483872" r:id="rId17"/>
    <p:sldLayoutId id="2147483873" r:id="rId18"/>
    <p:sldLayoutId id="2147483874" r:id="rId19"/>
    <p:sldLayoutId id="2147483875" r:id="rId20"/>
    <p:sldLayoutId id="2147483876" r:id="rId21"/>
    <p:sldLayoutId id="2147483877" r:id="rId22"/>
    <p:sldLayoutId id="2147483878" r:id="rId23"/>
  </p:sldLayoutIdLst>
  <p:transition>
    <p:fade/>
  </p:transition>
  <p:hf sldNum="0"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75000"/>
        <a:buFont typeface="Wingdings" panose="05000000000000000000" pitchFamily="2" charset="2"/>
        <a:buChar char="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590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accent2"/>
        </a:buClr>
        <a:buSzPct val="100000"/>
        <a:buFont typeface="Wingdings" panose="05000000000000000000" pitchFamily="2" charset="2"/>
        <a:buChar char="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87600" indent="-2286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Wingdings" panose="05000000000000000000" pitchFamily="2" charset="2"/>
        <a:buChar char=""/>
        <a:defRPr sz="16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90800" indent="-2032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Wingdings" panose="05000000000000000000" pitchFamily="2" charset="2"/>
        <a:buChar char="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43200" indent="-152400" algn="l" defTabSz="357708" rtl="0" eaLnBrk="1" latinLnBrk="0" hangingPunct="1">
        <a:lnSpc>
          <a:spcPct val="14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Wingdings" panose="05000000000000000000" pitchFamily="2" charset="2"/>
        <a:buChar char="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57">
          <p15:clr>
            <a:srgbClr val="F26B43"/>
          </p15:clr>
        </p15:guide>
        <p15:guide id="4" orient="horz" pos="444">
          <p15:clr>
            <a:srgbClr val="F26B43"/>
          </p15:clr>
        </p15:guide>
        <p15:guide id="5" orient="horz" pos="1049">
          <p15:clr>
            <a:srgbClr val="F26B43"/>
          </p15:clr>
        </p15:guide>
        <p15:guide id="6" orient="horz" pos="958">
          <p15:clr>
            <a:srgbClr val="F26B43"/>
          </p15:clr>
        </p15:guide>
        <p15:guide id="7" orient="horz" pos="4071">
          <p15:clr>
            <a:srgbClr val="F26B43"/>
          </p15:clr>
        </p15:guide>
        <p15:guide id="8" orient="horz" pos="4006">
          <p15:clr>
            <a:srgbClr val="F26B43"/>
          </p15:clr>
        </p15:guide>
        <p15:guide id="9" pos="3765">
          <p15:clr>
            <a:srgbClr val="F26B43"/>
          </p15:clr>
        </p15:guide>
        <p15:guide id="10" pos="3915">
          <p15:clr>
            <a:srgbClr val="F26B43"/>
          </p15:clr>
        </p15:guide>
        <p15:guide id="11" orient="horz" pos="320">
          <p15:clr>
            <a:srgbClr val="F26B43"/>
          </p15:clr>
        </p15:guide>
        <p15:guide id="12" orient="horz" pos="368">
          <p15:clr>
            <a:srgbClr val="F26B43"/>
          </p15:clr>
        </p15:guide>
        <p15:guide id="13" pos="1118">
          <p15:clr>
            <a:srgbClr val="F26B43"/>
          </p15:clr>
        </p15:guide>
        <p15:guide id="14" orient="horz" pos="4225">
          <p15:clr>
            <a:srgbClr val="F26B43"/>
          </p15:clr>
        </p15:guide>
        <p15:guide id="15" pos="482">
          <p15:clr>
            <a:srgbClr val="F26B43"/>
          </p15:clr>
        </p15:guide>
        <p15:guide id="16" pos="642">
          <p15:clr>
            <a:srgbClr val="F26B43"/>
          </p15:clr>
        </p15:guide>
        <p15:guide id="17" orient="horz" pos="111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sodir.no/en/force/archive/" TargetMode="Externa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1">
                <a:tint val="94000"/>
                <a:satMod val="80000"/>
                <a:lumMod val="106000"/>
              </a:schemeClr>
            </a:gs>
            <a:gs pos="100000">
              <a:schemeClr val="bg1">
                <a:shade val="80000"/>
                <a:lumMod val="108000"/>
              </a:schemeClr>
            </a:gs>
          </a:gsLst>
          <a:path path="circle">
            <a:fillToRect l="43000" r="43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CB2FFCD-8789-5D67-355F-77ACA3D9B5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28403" y="945913"/>
            <a:ext cx="8849315" cy="2618554"/>
          </a:xfrm>
        </p:spPr>
        <p:txBody>
          <a:bodyPr anchor="t" anchorCtr="0">
            <a:normAutofit/>
          </a:bodyPr>
          <a:lstStyle/>
          <a:p>
            <a:r>
              <a:rPr lang="en-US" sz="3600" noProof="0" dirty="0"/>
              <a:t>Cake &amp; Discuss</a:t>
            </a:r>
            <a:br>
              <a:rPr lang="en-US" noProof="0" dirty="0"/>
            </a:br>
            <a:r>
              <a:rPr lang="en-US" sz="6000" noProof="0" dirty="0"/>
              <a:t>My model, your model, OUR model</a:t>
            </a:r>
          </a:p>
        </p:txBody>
      </p:sp>
      <p:sp>
        <p:nvSpPr>
          <p:cNvPr id="47" name="Subtitle 46">
            <a:extLst>
              <a:ext uri="{FF2B5EF4-FFF2-40B4-BE49-F238E27FC236}">
                <a16:creationId xmlns:a16="http://schemas.microsoft.com/office/drawing/2014/main" id="{19C85B0E-82EE-C77F-275A-BFFA8363F6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28404" y="3564467"/>
            <a:ext cx="8637072" cy="2487990"/>
          </a:xfrm>
        </p:spPr>
        <p:txBody>
          <a:bodyPr>
            <a:normAutofit/>
          </a:bodyPr>
          <a:lstStyle/>
          <a:p>
            <a:r>
              <a:rPr lang="en-US" u="sng" dirty="0"/>
              <a:t>Organization Committee</a:t>
            </a:r>
          </a:p>
          <a:p>
            <a:r>
              <a:rPr lang="en-US" dirty="0"/>
              <a:t>Sonja Kuhlmann</a:t>
            </a:r>
          </a:p>
          <a:p>
            <a:r>
              <a:rPr lang="en-US" dirty="0"/>
              <a:t>Marine Seignole</a:t>
            </a:r>
          </a:p>
          <a:p>
            <a:r>
              <a:rPr lang="en-US" u="sng" dirty="0"/>
              <a:t>Oslo facilitator</a:t>
            </a:r>
          </a:p>
          <a:p>
            <a:r>
              <a:rPr lang="en-US" dirty="0"/>
              <a:t>Camilla </a:t>
            </a:r>
            <a:r>
              <a:rPr lang="en-US" dirty="0" err="1"/>
              <a:t>Oftebro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1D1D716-1204-EBF5-6C91-EC0CE7696674}"/>
              </a:ext>
            </a:extLst>
          </p:cNvPr>
          <p:cNvGrpSpPr>
            <a:grpSpLocks noChangeAspect="1"/>
          </p:cNvGrpSpPr>
          <p:nvPr/>
        </p:nvGrpSpPr>
        <p:grpSpPr>
          <a:xfrm>
            <a:off x="10797989" y="-115544"/>
            <a:ext cx="1333500" cy="1333500"/>
            <a:chOff x="344845" y="1271954"/>
            <a:chExt cx="3730426" cy="3730426"/>
          </a:xfrm>
        </p:grpSpPr>
        <p:pic>
          <p:nvPicPr>
            <p:cNvPr id="39" name="Graphic 38" descr="Meeting outline">
              <a:extLst>
                <a:ext uri="{FF2B5EF4-FFF2-40B4-BE49-F238E27FC236}">
                  <a16:creationId xmlns:a16="http://schemas.microsoft.com/office/drawing/2014/main" id="{43C9CEDB-7428-4B01-209B-1533EFF128F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44845" y="1271954"/>
              <a:ext cx="3730426" cy="3730426"/>
            </a:xfrm>
            <a:prstGeom prst="rect">
              <a:avLst/>
            </a:prstGeom>
          </p:spPr>
        </p:pic>
        <p:pic>
          <p:nvPicPr>
            <p:cNvPr id="41" name="Graphic 40" descr="Cupcake outline">
              <a:extLst>
                <a:ext uri="{FF2B5EF4-FFF2-40B4-BE49-F238E27FC236}">
                  <a16:creationId xmlns:a16="http://schemas.microsoft.com/office/drawing/2014/main" id="{14BD0682-F647-F9EF-2627-93C55928112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210058" y="3494698"/>
              <a:ext cx="774636" cy="774636"/>
            </a:xfrm>
            <a:prstGeom prst="rect">
              <a:avLst/>
            </a:prstGeom>
          </p:spPr>
        </p:pic>
        <p:pic>
          <p:nvPicPr>
            <p:cNvPr id="42" name="Content Placeholder 6" descr="Cake slice with solid fill">
              <a:extLst>
                <a:ext uri="{FF2B5EF4-FFF2-40B4-BE49-F238E27FC236}">
                  <a16:creationId xmlns:a16="http://schemas.microsoft.com/office/drawing/2014/main" id="{1E93E922-6173-678C-1996-AAFA9CEF469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95658" y="3474164"/>
              <a:ext cx="914400" cy="914400"/>
            </a:xfrm>
            <a:prstGeom prst="rect">
              <a:avLst/>
            </a:prstGeom>
          </p:spPr>
        </p:pic>
      </p:grp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39EEBC1-1297-6F05-E79F-68928D000D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4.03.202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B63A41-3C29-0EB0-5CFC-6BE6FD1D3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he FORCE Integrated Reservoir Modelling Group presents Cake &amp; Discuss</a:t>
            </a:r>
          </a:p>
        </p:txBody>
      </p:sp>
    </p:spTree>
    <p:extLst>
      <p:ext uri="{BB962C8B-B14F-4D97-AF65-F5344CB8AC3E}">
        <p14:creationId xmlns:p14="http://schemas.microsoft.com/office/powerpoint/2010/main" val="218256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C3B9A5-32FF-9D27-767A-14E42AC6FE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3CA3CB80-505A-B7F9-A1E3-843127EE2B1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888360" y="77118"/>
            <a:ext cx="5515398" cy="6780882"/>
          </a:xfr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5030C5-7066-6AD6-D007-D78618111E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z="1000"/>
              <a:t>24.03.2025</a:t>
            </a:r>
            <a:endParaRPr lang="en-US" sz="10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66CF78-11AE-F5AC-D34E-BF02F04925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 FORCE Integrated Reservoir Modelling Group presents Cake &amp; Discus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724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1882D1-2344-8A98-9BE2-25A9A77D1A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9E732CE-6549-3CEA-9076-0992237FFE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ulse talk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C5954A-80A5-821C-237A-09CF3133492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9EEB9A3-5D99-7974-EBE7-F65E969D4C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4.03.202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95B1FEB-2FD5-31EC-5743-D32DE9F1AC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 FORCE Integrated Reservoir Modelling Group presents Cake &amp; Discuss</a:t>
            </a:r>
          </a:p>
        </p:txBody>
      </p:sp>
    </p:spTree>
    <p:extLst>
      <p:ext uri="{BB962C8B-B14F-4D97-AF65-F5344CB8AC3E}">
        <p14:creationId xmlns:p14="http://schemas.microsoft.com/office/powerpoint/2010/main" val="19020927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2312DE-3EB4-5121-23C9-B3B54386B8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Questions to mull over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703EFCC3-9312-2271-2D5C-7EDF906298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3419716"/>
              </p:ext>
            </p:extLst>
          </p:nvPr>
        </p:nvGraphicFramePr>
        <p:xfrm>
          <a:off x="1034926" y="1629049"/>
          <a:ext cx="2792810" cy="4346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92810">
                  <a:extLst>
                    <a:ext uri="{9D8B030D-6E8A-4147-A177-3AD203B41FA5}">
                      <a16:colId xmlns:a16="http://schemas.microsoft.com/office/drawing/2014/main" val="2003062757"/>
                    </a:ext>
                  </a:extLst>
                </a:gridCol>
              </a:tblGrid>
              <a:tr h="995279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Questio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157241"/>
                  </a:ext>
                </a:extLst>
              </a:tr>
              <a:tr h="698563">
                <a:tc>
                  <a:txBody>
                    <a:bodyPr/>
                    <a:lstStyle/>
                    <a:p>
                      <a:pPr algn="ctr"/>
                      <a:r>
                        <a:rPr lang="en-GB" sz="1400"/>
                        <a:t>How best to upscale?</a:t>
                      </a:r>
                    </a:p>
                    <a:p>
                      <a:pPr algn="ctr"/>
                      <a:r>
                        <a:rPr lang="en-GB" sz="1400"/>
                        <a:t>(Advantages vs disadvantages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941362"/>
                  </a:ext>
                </a:extLst>
              </a:tr>
              <a:tr h="775005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When do you start the process of dynamic modelling?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8262291"/>
                  </a:ext>
                </a:extLst>
              </a:tr>
              <a:tr h="70878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Is there such a thing as “handover”?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4524677"/>
                  </a:ext>
                </a:extLst>
              </a:tr>
              <a:tr h="624221">
                <a:tc>
                  <a:txBody>
                    <a:bodyPr/>
                    <a:lstStyle/>
                    <a:p>
                      <a:pPr algn="ctr"/>
                      <a:r>
                        <a:rPr lang="en-GB" sz="1400"/>
                        <a:t>What inputs does each discipline have to the other?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2119687"/>
                  </a:ext>
                </a:extLst>
              </a:tr>
              <a:tr h="544792"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What is the best way to maintain an integrated “joint understanding”?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440907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993B6063-C2EE-84CB-1170-2B1B46AED2FC}"/>
              </a:ext>
            </a:extLst>
          </p:cNvPr>
          <p:cNvGraphicFramePr>
            <a:graphicFrameLocks noGrp="1"/>
          </p:cNvGraphicFramePr>
          <p:nvPr/>
        </p:nvGraphicFramePr>
        <p:xfrm>
          <a:off x="4820645" y="1372930"/>
          <a:ext cx="6522104" cy="48023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2977">
                  <a:extLst>
                    <a:ext uri="{9D8B030D-6E8A-4147-A177-3AD203B41FA5}">
                      <a16:colId xmlns:a16="http://schemas.microsoft.com/office/drawing/2014/main" val="3894157624"/>
                    </a:ext>
                  </a:extLst>
                </a:gridCol>
                <a:gridCol w="4879127">
                  <a:extLst>
                    <a:ext uri="{9D8B030D-6E8A-4147-A177-3AD203B41FA5}">
                      <a16:colId xmlns:a16="http://schemas.microsoft.com/office/drawing/2014/main" val="3068253823"/>
                    </a:ext>
                  </a:extLst>
                </a:gridCol>
              </a:tblGrid>
              <a:tr h="501680">
                <a:tc>
                  <a:txBody>
                    <a:bodyPr/>
                    <a:lstStyle/>
                    <a:p>
                      <a:pPr algn="ctr"/>
                      <a:r>
                        <a:rPr lang="en-GB" sz="2000"/>
                        <a:t>Topic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/>
                        <a:t>Questio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5718301"/>
                  </a:ext>
                </a:extLst>
              </a:tr>
              <a:tr h="1003491">
                <a:tc>
                  <a:txBody>
                    <a:bodyPr/>
                    <a:lstStyle/>
                    <a:p>
                      <a:pPr algn="ctr"/>
                      <a:r>
                        <a:rPr lang="en-GB" sz="1350"/>
                        <a:t>4D FW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350"/>
                        <a:t>How to update understanding or model based on this uncertain information? </a:t>
                      </a:r>
                    </a:p>
                    <a:p>
                      <a:pPr algn="ctr"/>
                      <a:endParaRPr lang="en-GB" sz="1350"/>
                    </a:p>
                    <a:p>
                      <a:pPr algn="ctr"/>
                      <a:r>
                        <a:rPr lang="en-GB" sz="1350"/>
                        <a:t>Should the range be widened?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1445994"/>
                  </a:ext>
                </a:extLst>
              </a:tr>
              <a:tr h="1187806">
                <a:tc>
                  <a:txBody>
                    <a:bodyPr/>
                    <a:lstStyle/>
                    <a:p>
                      <a:pPr algn="ctr"/>
                      <a:r>
                        <a:rPr lang="en-GB" sz="1350"/>
                        <a:t>Faults vs flexur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350" dirty="0"/>
                        <a:t>How to implement this update in our models?</a:t>
                      </a:r>
                    </a:p>
                    <a:p>
                      <a:pPr algn="ctr"/>
                      <a:endParaRPr lang="en-GB" sz="1350" dirty="0"/>
                    </a:p>
                    <a:p>
                      <a:pPr algn="ctr"/>
                      <a:r>
                        <a:rPr lang="en-GB" sz="1350" dirty="0"/>
                        <a:t>How to communicate understanding of fault </a:t>
                      </a:r>
                      <a:r>
                        <a:rPr lang="en-GB" sz="1350" dirty="0" err="1"/>
                        <a:t>behavior</a:t>
                      </a:r>
                      <a:r>
                        <a:rPr lang="en-GB" sz="1350" dirty="0"/>
                        <a:t> (e.g. baffling)?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063574"/>
                  </a:ext>
                </a:extLst>
              </a:tr>
              <a:tr h="2109380">
                <a:tc>
                  <a:txBody>
                    <a:bodyPr/>
                    <a:lstStyle/>
                    <a:p>
                      <a:pPr algn="ctr"/>
                      <a:r>
                        <a:rPr lang="en-GB" sz="1350" dirty="0"/>
                        <a:t>HM learning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350" dirty="0"/>
                        <a:t>When might a dynamic output be rejected as being “too different”? (does this differ in brownfield vs greenfield?)</a:t>
                      </a:r>
                    </a:p>
                    <a:p>
                      <a:pPr algn="ctr"/>
                      <a:r>
                        <a:rPr lang="en-GB" sz="1350" dirty="0"/>
                        <a:t>- Do we request the REs to “try again”?! </a:t>
                      </a:r>
                      <a:r>
                        <a:rPr lang="en-GB" sz="1350" dirty="0">
                          <a:sym typeface="Wingdings" panose="05000000000000000000" pitchFamily="2" charset="2"/>
                        </a:rPr>
                        <a:t></a:t>
                      </a:r>
                      <a:endParaRPr lang="en-GB" sz="1350" dirty="0"/>
                    </a:p>
                    <a:p>
                      <a:pPr algn="ctr"/>
                      <a:endParaRPr lang="en-GB" sz="1350" dirty="0"/>
                    </a:p>
                    <a:p>
                      <a:pPr algn="ctr"/>
                      <a:r>
                        <a:rPr lang="en-GB" sz="1350" dirty="0"/>
                        <a:t>Should we update anything in the static model?</a:t>
                      </a:r>
                    </a:p>
                    <a:p>
                      <a:pPr algn="ctr"/>
                      <a:endParaRPr lang="en-GB" sz="1350" dirty="0"/>
                    </a:p>
                    <a:p>
                      <a:pPr algn="ctr"/>
                      <a:r>
                        <a:rPr lang="en-GB" sz="1350" dirty="0"/>
                        <a:t>When do you revisit input data?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0573767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83B3DAF-FBE1-38B9-DBE7-92BCE8707A1E}"/>
              </a:ext>
            </a:extLst>
          </p:cNvPr>
          <p:cNvSpPr txBox="1"/>
          <p:nvPr/>
        </p:nvSpPr>
        <p:spPr bwMode="auto">
          <a:xfrm>
            <a:off x="10550724" y="6553200"/>
            <a:ext cx="1037143" cy="2109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57708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rgbClr val="DD1D21"/>
              </a:buClr>
              <a:buSzPct val="85000"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ShellMedium"/>
                <a:ea typeface="+mn-ea"/>
                <a:cs typeface="+mn-cs"/>
              </a:rPr>
              <a:t>CONFIDENTIAL</a:t>
            </a:r>
          </a:p>
        </p:txBody>
      </p:sp>
      <p:sp>
        <p:nvSpPr>
          <p:cNvPr id="3" name="Smiley Face 2">
            <a:extLst>
              <a:ext uri="{FF2B5EF4-FFF2-40B4-BE49-F238E27FC236}">
                <a16:creationId xmlns:a16="http://schemas.microsoft.com/office/drawing/2014/main" id="{2E198690-17D7-CCEF-AE2B-616EF9EBE514}"/>
              </a:ext>
            </a:extLst>
          </p:cNvPr>
          <p:cNvSpPr/>
          <p:nvPr/>
        </p:nvSpPr>
        <p:spPr>
          <a:xfrm>
            <a:off x="3383280" y="2395728"/>
            <a:ext cx="45719" cy="45719"/>
          </a:xfrm>
          <a:prstGeom prst="smileyFac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2483323396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2EC357-4B9B-9FAA-9D1E-F05A3C0C0A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Content Placeholder 6" descr="A piece of paper with writing on it&#10;&#10;AI-generated content may be incorrect.">
            <a:extLst>
              <a:ext uri="{FF2B5EF4-FFF2-40B4-BE49-F238E27FC236}">
                <a16:creationId xmlns:a16="http://schemas.microsoft.com/office/drawing/2014/main" id="{40AF5D7F-9377-01F6-3EEF-C24A92D5E18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241162" y="845299"/>
            <a:ext cx="6676376" cy="5007282"/>
          </a:xfr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CB3CD3-9689-D3F1-C271-1951FF86A1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z="1000"/>
              <a:t>24.03.2025</a:t>
            </a:r>
            <a:endParaRPr lang="en-US" sz="10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DC26D7-8BBD-98E0-9E09-A3091589E3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 FORCE Integrated Reservoir Modelling Group presents Cake &amp; Discus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95384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972CD7-7E1E-B476-607C-D8B37140B6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210B43-EFDA-A84F-08B8-2A6FD92C56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CA2B81-54EF-C818-3AAE-00EFA40A84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z="1000"/>
              <a:t>24.03.2025</a:t>
            </a:r>
            <a:endParaRPr lang="en-US" sz="10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F9512F-473B-8342-0AA5-F09F32BE1B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 FORCE Integrated Reservoir Modelling Group presents Cake &amp; Discuss</a:t>
            </a:r>
            <a:endParaRPr lang="en-US" dirty="0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EF85F947-6B02-25EE-C30D-0ADB2B7874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4872" y="88101"/>
            <a:ext cx="5051448" cy="673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689021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53A6CC-A958-B548-372E-61A9D9857E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BBC4DF-F6E1-2025-778D-255E2DF9D8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z="1000"/>
              <a:t>24.03.2025</a:t>
            </a:r>
            <a:endParaRPr lang="en-US" sz="10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188B25-4B80-F659-C2C5-99C28F6C60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 FORCE Integrated Reservoir Modelling Group presents Cake &amp; Discuss</a:t>
            </a:r>
            <a:endParaRPr lang="en-US" dirty="0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19CB3124-C1F9-2CF2-B948-6F0B437C477C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8455" y="0"/>
            <a:ext cx="6290404" cy="8387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65770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C8D376-D75F-A13C-1F9D-BD2BF03DC9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49B99C-0587-2892-8FA3-3AC3F210A9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7DA466-B7C1-4A89-27CC-A125C61751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z="1000"/>
              <a:t>24.03.2025</a:t>
            </a:r>
            <a:endParaRPr lang="en-US" sz="10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86B308-5002-6743-EC4E-5D33F2AD1E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 FORCE Integrated Reservoir Modelling Group presents Cake &amp; Discuss</a:t>
            </a:r>
            <a:endParaRPr lang="en-US" dirty="0"/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C78B3BD6-F0B5-D762-D0F8-8D60DF37F0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646" y="1477941"/>
            <a:ext cx="11109902" cy="421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134484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9CC4DC70-4506-FE36-99E4-CA2474796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elcome to “Cake &amp; Discuss”</a:t>
            </a:r>
            <a:endParaRPr lang="nb-NO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C474F5D0-ADD5-10AE-DBF9-0543A4AE4E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4.03.2025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064E511-254F-A6E3-DFC6-D1B4B03649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he FORCE Integrated Reservoir Modelling Group presents Cake &amp; Discus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47DFB62-AA37-290C-2809-52B0514D8760}"/>
              </a:ext>
            </a:extLst>
          </p:cNvPr>
          <p:cNvSpPr txBox="1"/>
          <p:nvPr/>
        </p:nvSpPr>
        <p:spPr>
          <a:xfrm>
            <a:off x="3759750" y="1820869"/>
            <a:ext cx="5528630" cy="70788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24 March 25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My model, your model, OUR model</a:t>
            </a:r>
            <a:endParaRPr kumimoji="0" lang="en-GB" sz="24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66281E2-C6EF-D311-6AF8-77AE7F674C92}"/>
              </a:ext>
            </a:extLst>
          </p:cNvPr>
          <p:cNvSpPr txBox="1"/>
          <p:nvPr/>
        </p:nvSpPr>
        <p:spPr>
          <a:xfrm>
            <a:off x="8174573" y="3184920"/>
            <a:ext cx="3296319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/>
              </a:defRPr>
            </a:lvl1pPr>
          </a:lstStyle>
          <a:p>
            <a:r>
              <a:rPr lang="en-GB" dirty="0">
                <a:solidFill>
                  <a:schemeClr val="bg1"/>
                </a:solidFill>
              </a:rPr>
              <a:t>XX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DEC2275-E3CC-5199-FE41-5737556B1395}"/>
              </a:ext>
            </a:extLst>
          </p:cNvPr>
          <p:cNvSpPr txBox="1"/>
          <p:nvPr/>
        </p:nvSpPr>
        <p:spPr>
          <a:xfrm>
            <a:off x="1165299" y="3192872"/>
            <a:ext cx="3459600" cy="58477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600" i="1" dirty="0"/>
              <a:t>13 April 23</a:t>
            </a:r>
          </a:p>
          <a:p>
            <a:r>
              <a:rPr lang="en-US" sz="1600" b="1" i="1" dirty="0"/>
              <a:t>The Structural Framework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FF887A2-0F2D-D9B0-3789-7B9764372099}"/>
              </a:ext>
            </a:extLst>
          </p:cNvPr>
          <p:cNvSpPr txBox="1"/>
          <p:nvPr/>
        </p:nvSpPr>
        <p:spPr>
          <a:xfrm>
            <a:off x="4669936" y="3189348"/>
            <a:ext cx="3459600" cy="58477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600" i="1" dirty="0"/>
              <a:t>22 August 23</a:t>
            </a:r>
          </a:p>
          <a:p>
            <a:r>
              <a:rPr lang="en-US" sz="1600" b="1" i="1" dirty="0"/>
              <a:t>The Gri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1E96DA8-E679-7537-ED2B-DD77C549045D}"/>
              </a:ext>
            </a:extLst>
          </p:cNvPr>
          <p:cNvSpPr txBox="1"/>
          <p:nvPr/>
        </p:nvSpPr>
        <p:spPr>
          <a:xfrm>
            <a:off x="1165299" y="3862350"/>
            <a:ext cx="3459600" cy="58477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600" i="1" dirty="0"/>
              <a:t>7 November 23</a:t>
            </a:r>
          </a:p>
          <a:p>
            <a:r>
              <a:rPr lang="en-US" sz="1600" b="1" i="1" dirty="0"/>
              <a:t>The Property Model – Part1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3A290D4-2068-DB2B-A2D0-5BD7057CD84E}"/>
              </a:ext>
            </a:extLst>
          </p:cNvPr>
          <p:cNvSpPr txBox="1"/>
          <p:nvPr/>
        </p:nvSpPr>
        <p:spPr>
          <a:xfrm>
            <a:off x="4669936" y="3862350"/>
            <a:ext cx="3459600" cy="58477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600" i="1" dirty="0"/>
              <a:t>23 April 24</a:t>
            </a:r>
          </a:p>
          <a:p>
            <a:r>
              <a:rPr lang="en-US" sz="1600" b="1" i="1" dirty="0"/>
              <a:t>The Property Model – Part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6EDB780-441A-F412-6BD7-84D6FF5E6EDC}"/>
              </a:ext>
            </a:extLst>
          </p:cNvPr>
          <p:cNvSpPr txBox="1"/>
          <p:nvPr/>
        </p:nvSpPr>
        <p:spPr>
          <a:xfrm>
            <a:off x="2496385" y="1935138"/>
            <a:ext cx="10262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ODAY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616C29A-DA40-2EF0-1D0D-084385286471}"/>
              </a:ext>
            </a:extLst>
          </p:cNvPr>
          <p:cNvSpPr txBox="1"/>
          <p:nvPr/>
        </p:nvSpPr>
        <p:spPr>
          <a:xfrm>
            <a:off x="1130270" y="2697718"/>
            <a:ext cx="16225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ast sessions: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3399F2C-B9BA-5F6A-BD1C-F86E14CFBC36}"/>
              </a:ext>
            </a:extLst>
          </p:cNvPr>
          <p:cNvSpPr txBox="1"/>
          <p:nvPr/>
        </p:nvSpPr>
        <p:spPr>
          <a:xfrm>
            <a:off x="8129536" y="2697718"/>
            <a:ext cx="18533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uture sessions: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39A1D32-077A-4CB2-53B6-728454C8B686}"/>
              </a:ext>
            </a:extLst>
          </p:cNvPr>
          <p:cNvSpPr txBox="1"/>
          <p:nvPr/>
        </p:nvSpPr>
        <p:spPr>
          <a:xfrm>
            <a:off x="1414197" y="5740400"/>
            <a:ext cx="216437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hlinkClick r:id="rId2"/>
              </a:rPr>
              <a:t>https://www.sodir.no/en/force/archive/</a:t>
            </a:r>
            <a:endParaRPr lang="en-US" sz="8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B5FF33F-5C77-24E2-AE0F-628B560EEB0C}"/>
              </a:ext>
            </a:extLst>
          </p:cNvPr>
          <p:cNvSpPr txBox="1"/>
          <p:nvPr/>
        </p:nvSpPr>
        <p:spPr>
          <a:xfrm>
            <a:off x="1165299" y="4531828"/>
            <a:ext cx="3459600" cy="58477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600" i="1" dirty="0"/>
              <a:t>27 August 24</a:t>
            </a:r>
          </a:p>
          <a:p>
            <a:r>
              <a:rPr lang="en-US" sz="1600" b="1" i="1" dirty="0"/>
              <a:t>The Uncertainty Study – Part1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68BDED5-6E16-8DA8-3FE2-33487E30DD96}"/>
              </a:ext>
            </a:extLst>
          </p:cNvPr>
          <p:cNvSpPr txBox="1"/>
          <p:nvPr/>
        </p:nvSpPr>
        <p:spPr>
          <a:xfrm>
            <a:off x="4669936" y="4531827"/>
            <a:ext cx="3459600" cy="58477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600" i="1" dirty="0"/>
              <a:t>7 November 24</a:t>
            </a:r>
          </a:p>
          <a:p>
            <a:r>
              <a:rPr lang="en-US" sz="1600" b="1" i="1" dirty="0"/>
              <a:t>The Uncertainty Study – Part2</a:t>
            </a:r>
          </a:p>
        </p:txBody>
      </p:sp>
    </p:spTree>
    <p:extLst>
      <p:ext uri="{BB962C8B-B14F-4D97-AF65-F5344CB8AC3E}">
        <p14:creationId xmlns:p14="http://schemas.microsoft.com/office/powerpoint/2010/main" val="21295546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925B9-C285-BCFE-473D-709CBB500B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ulse talk topics</a:t>
            </a:r>
            <a:endParaRPr lang="nb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3AB872-89DA-DAE4-14DB-5024A868F5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orking together</a:t>
            </a:r>
          </a:p>
          <a:p>
            <a:endParaRPr lang="en-US" dirty="0"/>
          </a:p>
          <a:p>
            <a:r>
              <a:rPr lang="en-US" dirty="0" err="1"/>
              <a:t>Ormen</a:t>
            </a:r>
            <a:r>
              <a:rPr lang="en-US" dirty="0"/>
              <a:t> Lange static-dynamic handover</a:t>
            </a:r>
          </a:p>
          <a:p>
            <a:endParaRPr lang="en-US" dirty="0"/>
          </a:p>
          <a:p>
            <a:r>
              <a:rPr lang="en-US" dirty="0"/>
              <a:t>Maria Phase 2 Projects: How We Use Ensembles Before and During Drilling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3671D1A-9F9D-315D-221D-66911672FE90}"/>
              </a:ext>
            </a:extLst>
          </p:cNvPr>
          <p:cNvSpPr/>
          <p:nvPr/>
        </p:nvSpPr>
        <p:spPr>
          <a:xfrm>
            <a:off x="1366075" y="3202754"/>
            <a:ext cx="9077336" cy="360000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04030E6-A5DE-EEC8-4B26-28FDD568D836}"/>
              </a:ext>
            </a:extLst>
          </p:cNvPr>
          <p:cNvSpPr/>
          <p:nvPr/>
        </p:nvSpPr>
        <p:spPr>
          <a:xfrm>
            <a:off x="1366075" y="4200795"/>
            <a:ext cx="9077336" cy="360000"/>
          </a:xfrm>
          <a:prstGeom prst="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12FEB13-FDFE-25AD-8B7B-B9EED066FFFD}"/>
              </a:ext>
            </a:extLst>
          </p:cNvPr>
          <p:cNvSpPr/>
          <p:nvPr/>
        </p:nvSpPr>
        <p:spPr>
          <a:xfrm>
            <a:off x="1366075" y="2236433"/>
            <a:ext cx="9077336" cy="36000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86F8B49-7E19-1473-3302-08BC8ADC66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z="1000" dirty="0"/>
              <a:t>24.03.2025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D6EB726-09CE-16C9-4E6B-5182B4E5C3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he FORCE Integrated Reservoir Modelling Group presents Cake &amp; Discuss</a:t>
            </a:r>
          </a:p>
        </p:txBody>
      </p:sp>
    </p:spTree>
    <p:extLst>
      <p:ext uri="{BB962C8B-B14F-4D97-AF65-F5344CB8AC3E}">
        <p14:creationId xmlns:p14="http://schemas.microsoft.com/office/powerpoint/2010/main" val="20063611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C353B9B-2FCD-E1B9-7CD9-0FB129B316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mpulse talk 1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C0FE098-8239-7A0C-FA0B-BC8516CE860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732679A-A936-AE6A-690C-A96836063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4.03.202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79D6CF4-94AC-8F0D-18F5-7151A4090D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 FORCE Integrated Reservoir Modelling Group presents Cake &amp; Discuss</a:t>
            </a:r>
          </a:p>
        </p:txBody>
      </p:sp>
    </p:spTree>
    <p:extLst>
      <p:ext uri="{BB962C8B-B14F-4D97-AF65-F5344CB8AC3E}">
        <p14:creationId xmlns:p14="http://schemas.microsoft.com/office/powerpoint/2010/main" val="12215189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D0A5D19-7E6B-6C2F-C296-20ED789506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 we work together?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33BC66-EA92-E5B8-8B31-EB31F2985A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4.03.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DA0B99-5E45-0D9F-4301-2F9633A83A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 FORCE Integrated Reservoir Modelling Group presents Cake &amp; Discuss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F54D239E-A7E7-16DB-F660-1D74BD89B9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96312" y="2689047"/>
            <a:ext cx="914400" cy="514794"/>
          </a:xfrm>
          <a:prstGeom prst="rect">
            <a:avLst/>
          </a:prstGeom>
        </p:spPr>
      </p:pic>
      <p:pic>
        <p:nvPicPr>
          <p:cNvPr id="43" name="Graphic 42" descr="Monitor outline">
            <a:extLst>
              <a:ext uri="{FF2B5EF4-FFF2-40B4-BE49-F238E27FC236}">
                <a16:creationId xmlns:a16="http://schemas.microsoft.com/office/drawing/2014/main" id="{4C3C1D98-875D-9717-1CF5-025FED54A7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153117" y="2240432"/>
            <a:ext cx="1811434" cy="1811434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9DDDD5A3-A7C9-AF3D-20E1-82F3DC01F6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32830" y="2389691"/>
            <a:ext cx="3652007" cy="2813171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80988016-CDC9-C704-D701-E4E1BA7BD3E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-1" r="14290"/>
          <a:stretch/>
        </p:blipFill>
        <p:spPr>
          <a:xfrm flipH="1">
            <a:off x="1130270" y="2000198"/>
            <a:ext cx="4327460" cy="3200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7555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C49A4B-A118-0B83-3966-2991950397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 we work together?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BAADFFF-994A-B92F-8EC4-4E3397A40F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o you think the way we work together influences the final product?</a:t>
            </a:r>
          </a:p>
          <a:p>
            <a:pPr lvl="1"/>
            <a:r>
              <a:rPr lang="en-US" dirty="0"/>
              <a:t>How are you organized? E.g. multidisciplinary asset teams, groups by discipline, …</a:t>
            </a:r>
          </a:p>
          <a:p>
            <a:pPr lvl="1"/>
            <a:r>
              <a:rPr lang="en-US" dirty="0"/>
              <a:t>Do you share an office, do you need to go over to each other? Do you have collaboration spaces?</a:t>
            </a:r>
          </a:p>
          <a:p>
            <a:pPr lvl="1"/>
            <a:r>
              <a:rPr lang="en-US" dirty="0"/>
              <a:t>Do you work more sequential, more in feedback loops?</a:t>
            </a:r>
          </a:p>
          <a:p>
            <a:pPr lvl="1"/>
            <a:r>
              <a:rPr lang="en-US" dirty="0"/>
              <a:t>What background has you manager?</a:t>
            </a:r>
          </a:p>
          <a:p>
            <a:pPr lvl="1"/>
            <a:r>
              <a:rPr lang="en-US" dirty="0"/>
              <a:t>What is your ideal set-up?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90E71-8C6C-4C99-D39B-1D20E11275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z="1000" dirty="0"/>
              <a:t>24.03.2025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541AA6-9F21-9BBA-5B4D-8E8521B72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 FORCE Integrated Reservoir Modelling Group presents Cake &amp; Discuss</a:t>
            </a:r>
          </a:p>
        </p:txBody>
      </p:sp>
    </p:spTree>
    <p:extLst>
      <p:ext uri="{BB962C8B-B14F-4D97-AF65-F5344CB8AC3E}">
        <p14:creationId xmlns:p14="http://schemas.microsoft.com/office/powerpoint/2010/main" val="41568714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04F94-DCC2-0E01-C3FA-395115308A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232DA1-F6F4-D0B1-0151-66EA1779DD5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BA64CD-D652-0E05-7284-94F7498305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z="1000"/>
              <a:t>24.03.2025</a:t>
            </a:r>
            <a:endParaRPr lang="en-US" sz="10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36678D-42D5-8C26-95CA-92A861B59C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 FORCE Integrated Reservoir Modelling Group presents Cake &amp; Discuss</a:t>
            </a:r>
            <a:endParaRPr lang="en-US" dirty="0"/>
          </a:p>
        </p:txBody>
      </p:sp>
      <p:pic>
        <p:nvPicPr>
          <p:cNvPr id="1026" name="image_0">
            <a:extLst>
              <a:ext uri="{FF2B5EF4-FFF2-40B4-BE49-F238E27FC236}">
                <a16:creationId xmlns:a16="http://schemas.microsoft.com/office/drawing/2014/main" id="{61D0370A-304E-71C2-B203-707943D416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587517" cy="7102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220387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A0F3DF-056D-0A77-177B-4FC0CBD19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6105C0-4238-9781-228C-220FA0555E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7EAD20-6EAA-630E-B213-B57634684B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z="1000"/>
              <a:t>24.03.2025</a:t>
            </a:r>
            <a:endParaRPr lang="en-US" sz="10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F56EC4-D8D2-65CA-CD91-8709907281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 FORCE Integrated Reservoir Modelling Group presents Cake &amp; Discuss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3646438-0677-AD03-3F1F-5F0BDF4E39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9574" y="84222"/>
            <a:ext cx="9111886" cy="6112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5109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FFD9A9-5BEB-5E29-6A63-39722763BB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48907D-6594-7440-D6E6-976D7FC2DB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51254" y="2335928"/>
            <a:ext cx="3511161" cy="2210088"/>
          </a:xfrm>
        </p:spPr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FCB329-02C1-1A0A-FFD8-9D48A70ADD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z="1000"/>
              <a:t>24.03.2025</a:t>
            </a:r>
            <a:endParaRPr lang="en-US" sz="10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C63551-8667-C8C1-FE87-A9E6EA9C8F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 FORCE Integrated Reservoir Modelling Group presents Cake &amp; Discuss</a:t>
            </a:r>
            <a:endParaRPr lang="en-US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9A8A3933-17C3-0A50-A145-F1233F1EA6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5883" y="-110169"/>
            <a:ext cx="5760234" cy="7680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89626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CDCE0"/>
      </a:lt2>
      <a:accent1>
        <a:srgbClr val="415588"/>
      </a:accent1>
      <a:accent2>
        <a:srgbClr val="4294B6"/>
      </a:accent2>
      <a:accent3>
        <a:srgbClr val="087D7C"/>
      </a:accent3>
      <a:accent4>
        <a:srgbClr val="2CB663"/>
      </a:accent4>
      <a:accent5>
        <a:srgbClr val="DF8822"/>
      </a:accent5>
      <a:accent6>
        <a:srgbClr val="BC410A"/>
      </a:accent6>
      <a:hlink>
        <a:srgbClr val="5977C4"/>
      </a:hlink>
      <a:folHlink>
        <a:srgbClr val="A1A9BF"/>
      </a:folHlink>
    </a:clrScheme>
    <a:fontScheme name="Gallery">
      <a:majorFont>
        <a:latin typeface="Century Gothic" panose="020B0502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  <a:lumMod val="108000"/>
              </a:schemeClr>
            </a:gs>
          </a:gsLst>
          <a:path path="circle">
            <a:fillToRect l="43000" r="43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E050AC27-895F-4B90-991D-A6818FC89AB6}"/>
    </a:ext>
  </a:extLst>
</a:theme>
</file>

<file path=ppt/theme/theme2.xml><?xml version="1.0" encoding="utf-8"?>
<a:theme xmlns:a="http://schemas.openxmlformats.org/drawingml/2006/main" name="1_Shell layouts with footer">
  <a:themeElements>
    <a:clrScheme name="Shell Colour Palette">
      <a:dk1>
        <a:srgbClr val="404040"/>
      </a:dk1>
      <a:lt1>
        <a:srgbClr val="FFFFFF"/>
      </a:lt1>
      <a:dk2>
        <a:srgbClr val="A6A6A6"/>
      </a:dk2>
      <a:lt2>
        <a:srgbClr val="D9D9D9"/>
      </a:lt2>
      <a:accent1>
        <a:srgbClr val="FBCE07"/>
      </a:accent1>
      <a:accent2>
        <a:srgbClr val="DD1D21"/>
      </a:accent2>
      <a:accent3>
        <a:srgbClr val="003C88"/>
      </a:accent3>
      <a:accent4>
        <a:srgbClr val="641964"/>
      </a:accent4>
      <a:accent5>
        <a:srgbClr val="008443"/>
      </a:accent5>
      <a:accent6>
        <a:srgbClr val="EB8705"/>
      </a:accent6>
      <a:hlink>
        <a:srgbClr val="003C88"/>
      </a:hlink>
      <a:folHlink>
        <a:srgbClr val="003C88"/>
      </a:folHlink>
    </a:clrScheme>
    <a:fontScheme name="Shell Font Theme">
      <a:majorFont>
        <a:latin typeface="ShellHeavy"/>
        <a:ea typeface=""/>
        <a:cs typeface=""/>
      </a:majorFont>
      <a:minorFont>
        <a:latin typeface="Shell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 algn="ctr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01613" indent="-201613" defTabSz="357708">
          <a:lnSpc>
            <a:spcPct val="140000"/>
          </a:lnSpc>
          <a:buClr>
            <a:schemeClr val="accent2"/>
          </a:buClr>
          <a:buSzPct val="85000"/>
          <a:buFont typeface="Wingdings" panose="05000000000000000000" pitchFamily="2" charset="2"/>
          <a:buChar char=""/>
          <a:defRPr sz="1600" dirty="0" err="1" smtClean="0"/>
        </a:defPPr>
      </a:lstStyle>
    </a:txDef>
  </a:objectDefaults>
  <a:extraClrSchemeLst/>
  <a:custClrLst>
    <a:custClr name="Shell-yellow">
      <a:srgbClr val="FBCE07"/>
    </a:custClr>
    <a:custClr name="Shell-yellow-60%">
      <a:srgbClr val="FDE26A"/>
    </a:custClr>
    <a:custClr name="Shell-yellow-40%">
      <a:srgbClr val="FDEB9C"/>
    </a:custClr>
    <a:custClr name="Shell-yellow-20%">
      <a:srgbClr val="FEF5CD"/>
    </a:custClr>
    <a:custClr name="Shell-yellow-20%">
      <a:srgbClr val="FEF5CD"/>
    </a:custClr>
    <a:custClr name="Shell-red">
      <a:srgbClr val="DD1D21"/>
    </a:custClr>
    <a:custClr name="Shell-red-60%">
      <a:srgbClr val="EB777A"/>
    </a:custClr>
    <a:custClr name="Shell-red-40%">
      <a:srgbClr val="F1A5A6"/>
    </a:custClr>
    <a:custClr name="Shell-red-20%">
      <a:srgbClr val="F8D2D3"/>
    </a:custClr>
    <a:custClr name="Shell-white">
      <a:srgbClr val="FFFFFF"/>
    </a:custClr>
    <a:custClr name="Shell-black">
      <a:srgbClr val="000000"/>
    </a:custClr>
    <a:custClr name="Shell-very dark grey">
      <a:srgbClr val="404040"/>
    </a:custClr>
    <a:custClr name="Shell-dark grey">
      <a:srgbClr val="595959"/>
    </a:custClr>
    <a:custClr name="Shell-mid grey">
      <a:srgbClr val="7F7F7F"/>
    </a:custClr>
    <a:custClr name="Shell-light grey">
      <a:srgbClr val="A6A6A6"/>
    </a:custClr>
    <a:custClr name="Shell-pale grey">
      <a:srgbClr val="D9D9D9"/>
    </a:custClr>
    <a:custClr name="Shell-very pale grey">
      <a:srgbClr val="F7F7F7"/>
    </a:custClr>
    <a:custClr name="Shell-dark blue">
      <a:srgbClr val="003C88"/>
    </a:custClr>
    <a:custClr name="Shell-dark blue-60%">
      <a:srgbClr val="668AB8"/>
    </a:custClr>
    <a:custClr name="Shell-dark blue-40%">
      <a:srgbClr val="99B1CF"/>
    </a:custClr>
    <a:custClr name="Shell-dark blue-20%">
      <a:srgbClr val="CCD8E7"/>
    </a:custClr>
    <a:custClr name="Shell-mid blue">
      <a:srgbClr val="009EB4"/>
    </a:custClr>
    <a:custClr name="Shell-mid blue-60%">
      <a:srgbClr val="66C5D2"/>
    </a:custClr>
    <a:custClr name="Shell-mid blue-40%">
      <a:srgbClr val="99D8E1"/>
    </a:custClr>
    <a:custClr name="Shell-mid blue-20%">
      <a:srgbClr val="CCECF0"/>
    </a:custClr>
    <a:custClr name="Shell-light blue">
      <a:srgbClr val="89CFDC"/>
    </a:custClr>
    <a:custClr name="Shell-light blue-60%">
      <a:srgbClr val="B8E2EA"/>
    </a:custClr>
    <a:custClr name="Shell-light blue-40%">
      <a:srgbClr val="D0ECF1"/>
    </a:custClr>
    <a:custClr name="Shell-light blue-20%">
      <a:srgbClr val="E7F5F8"/>
    </a:custClr>
    <a:custClr name="Shell-light green">
      <a:srgbClr val="BED50F"/>
    </a:custClr>
    <a:custClr name="Shell-light green-60%">
      <a:srgbClr val="D8E66F"/>
    </a:custClr>
    <a:custClr name="Shell-light green-40%">
      <a:srgbClr val="E5EE9F"/>
    </a:custClr>
    <a:custClr name="Shell-light green-20%">
      <a:srgbClr val="F2F7CF"/>
    </a:custClr>
    <a:custClr name="Shell-dark green">
      <a:srgbClr val="008443"/>
    </a:custClr>
    <a:custClr name="Shell-dark green-60%">
      <a:srgbClr val="66B58E"/>
    </a:custClr>
    <a:custClr name="Shell-dark green-40%">
      <a:srgbClr val="99CEB4"/>
    </a:custClr>
    <a:custClr name="Shell-dark green-20%">
      <a:srgbClr val="CCE6D9"/>
    </a:custClr>
    <a:custClr name="Shell-purple">
      <a:srgbClr val="641964"/>
    </a:custClr>
    <a:custClr name="Shell-purple-60%">
      <a:srgbClr val="A275A2"/>
    </a:custClr>
    <a:custClr name="Shell-purple-40%">
      <a:srgbClr val="C1A3C1"/>
    </a:custClr>
    <a:custClr name="Shell-purple-20%">
      <a:srgbClr val="E0D1E0"/>
    </a:custClr>
    <a:custClr name="Shell-lilac">
      <a:srgbClr val="BA95BE"/>
    </a:custClr>
    <a:custClr name="Shell-lilac-60%">
      <a:srgbClr val="D6BFD8"/>
    </a:custClr>
    <a:custClr name="Shell-lilac-40%">
      <a:srgbClr val="E3D5E5"/>
    </a:custClr>
    <a:custClr name="Shell-orange">
      <a:srgbClr val="EB8705"/>
    </a:custClr>
    <a:custClr name="Shell-orange-60%">
      <a:srgbClr val="F3B769"/>
    </a:custClr>
    <a:custClr name="Shell-orange-40%">
      <a:srgbClr val="F7CF9B"/>
    </a:custClr>
    <a:custClr name="Shell-brown">
      <a:srgbClr val="743410"/>
    </a:custClr>
    <a:custClr name="Shell-brown-60%">
      <a:srgbClr val="AC8570"/>
    </a:custClr>
    <a:custClr name="Shell-brown-40%">
      <a:srgbClr val="C7AE9F"/>
    </a:custClr>
    <a:custClr name="Shell-sand">
      <a:srgbClr val="FFEAC2"/>
    </a:custClr>
  </a:custClrLst>
  <a:extLst>
    <a:ext uri="{05A4C25C-085E-4340-85A3-A5531E510DB2}">
      <thm15:themeFamily xmlns:thm15="http://schemas.microsoft.com/office/thememl/2012/main" name="Onscreen;2057;Pos1;Date1;Widescreen Shell template - 16x9 V1-102.potx" id="{5A7BD8C3-2690-4C05-A145-19ADE4FBA848}" vid="{3B7C03BC-BD27-4D1F-8A34-1DD52275C4B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allery</Template>
  <TotalTime>1157</TotalTime>
  <Words>546</Words>
  <Application>Microsoft Office PowerPoint</Application>
  <PresentationFormat>Widescreen</PresentationFormat>
  <Paragraphs>99</Paragraphs>
  <Slides>1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Arial</vt:lpstr>
      <vt:lpstr>Calibri</vt:lpstr>
      <vt:lpstr>Century Gothic</vt:lpstr>
      <vt:lpstr>ShellHeavy</vt:lpstr>
      <vt:lpstr>ShellMedium</vt:lpstr>
      <vt:lpstr>Wingdings</vt:lpstr>
      <vt:lpstr>Gallery</vt:lpstr>
      <vt:lpstr>1_Shell layouts with footer</vt:lpstr>
      <vt:lpstr>think-cell Slide</vt:lpstr>
      <vt:lpstr>Cake &amp; Discuss My model, your model, OUR model</vt:lpstr>
      <vt:lpstr>Welcome to “Cake &amp; Discuss”</vt:lpstr>
      <vt:lpstr>Impulse talk topics</vt:lpstr>
      <vt:lpstr>Impulse talk 1</vt:lpstr>
      <vt:lpstr>How do we work together?</vt:lpstr>
      <vt:lpstr>How do we work together?</vt:lpstr>
      <vt:lpstr>PowerPoint Presentation</vt:lpstr>
      <vt:lpstr>PowerPoint Presentation</vt:lpstr>
      <vt:lpstr>PowerPoint Presentation</vt:lpstr>
      <vt:lpstr>PowerPoint Presentation</vt:lpstr>
      <vt:lpstr>Impulse talk 2</vt:lpstr>
      <vt:lpstr>Questions to mull over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ke &amp; Discuss The Structural Framework</dc:title>
  <dc:creator>Kuhlmann, Sonja</dc:creator>
  <cp:lastModifiedBy>Marine Seignole</cp:lastModifiedBy>
  <cp:revision>2</cp:revision>
  <dcterms:created xsi:type="dcterms:W3CDTF">2023-04-13T05:27:25Z</dcterms:created>
  <dcterms:modified xsi:type="dcterms:W3CDTF">2025-03-31T09:37:44Z</dcterms:modified>
</cp:coreProperties>
</file>